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2"/>
  </p:notesMasterIdLst>
  <p:sldIdLst>
    <p:sldId id="485" r:id="rId2"/>
    <p:sldId id="515" r:id="rId3"/>
    <p:sldId id="388" r:id="rId4"/>
    <p:sldId id="482" r:id="rId5"/>
    <p:sldId id="530" r:id="rId6"/>
    <p:sldId id="536" r:id="rId7"/>
    <p:sldId id="533" r:id="rId8"/>
    <p:sldId id="545" r:id="rId9"/>
    <p:sldId id="537" r:id="rId10"/>
    <p:sldId id="539" r:id="rId11"/>
    <p:sldId id="538" r:id="rId12"/>
    <p:sldId id="546" r:id="rId13"/>
    <p:sldId id="532" r:id="rId14"/>
    <p:sldId id="542" r:id="rId15"/>
    <p:sldId id="540" r:id="rId16"/>
    <p:sldId id="518" r:id="rId17"/>
    <p:sldId id="534" r:id="rId18"/>
    <p:sldId id="544" r:id="rId19"/>
    <p:sldId id="543" r:id="rId20"/>
    <p:sldId id="535" r:id="rId21"/>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595959"/>
    <a:srgbClr val="575757"/>
    <a:srgbClr val="010101"/>
    <a:srgbClr val="262626"/>
    <a:srgbClr val="346A97"/>
    <a:srgbClr val="E6D590"/>
    <a:srgbClr val="0B2239"/>
    <a:srgbClr val="016D9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90" autoAdjust="0"/>
    <p:restoredTop sz="94660"/>
  </p:normalViewPr>
  <p:slideViewPr>
    <p:cSldViewPr snapToGrid="0">
      <p:cViewPr varScale="1">
        <p:scale>
          <a:sx n="68" d="100"/>
          <a:sy n="68" d="100"/>
        </p:scale>
        <p:origin x="744" y="60"/>
      </p:cViewPr>
      <p:guideLst/>
    </p:cSldViewPr>
  </p:slideViewPr>
  <p:notesTextViewPr>
    <p:cViewPr>
      <p:scale>
        <a:sx n="1" d="1"/>
        <a:sy n="1" d="1"/>
      </p:scale>
      <p:origin x="0" y="0"/>
    </p:cViewPr>
  </p:notesTextViewPr>
  <p:sorterViewPr>
    <p:cViewPr>
      <p:scale>
        <a:sx n="100" d="100"/>
        <a:sy n="100" d="100"/>
      </p:scale>
      <p:origin x="0" y="-1743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5A936A-9A13-4042-8584-7FFDAD040C59}" type="datetimeFigureOut">
              <a:rPr lang="zh-CN" altLang="en-US" smtClean="0"/>
              <a:t>2022/6/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771600-EFCF-4A63-82E2-D1BF68BF533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3771600-EFCF-4A63-82E2-D1BF68BF533D}" type="slidenum">
              <a:rPr lang="zh-CN" altLang="en-US" smtClean="0"/>
              <a:t>8</a:t>
            </a:fld>
            <a:endParaRPr lang="zh-CN" altLang="en-US"/>
          </a:p>
        </p:txBody>
      </p:sp>
    </p:spTree>
    <p:extLst>
      <p:ext uri="{BB962C8B-B14F-4D97-AF65-F5344CB8AC3E}">
        <p14:creationId xmlns:p14="http://schemas.microsoft.com/office/powerpoint/2010/main" val="1636869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3771600-EFCF-4A63-82E2-D1BF68BF533D}"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 Id="rId4" Type="http://schemas.microsoft.com/office/2007/relationships/hdphoto" Target="../media/hdphoto9.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4.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0.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31.png"/><Relationship Id="rId7" Type="http://schemas.openxmlformats.org/officeDocument/2006/relationships/image" Target="../media/image34.emf"/><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33.emf"/><Relationship Id="rId5" Type="http://schemas.microsoft.com/office/2007/relationships/hdphoto" Target="../media/hdphoto10.wdp"/><Relationship Id="rId4" Type="http://schemas.openxmlformats.org/officeDocument/2006/relationships/image" Target="../media/image3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8.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41.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microsoft.com/office/2007/relationships/hdphoto" Target="../media/hdphoto6.wdp"/></Relationships>
</file>

<file path=ppt/slideLayouts/_rels/slideLayout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1-1">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
                    </a14:imgEffect>
                    <a14:imgEffect>
                      <a14:colorTemperature colorTemp="7200"/>
                    </a14:imgEffect>
                    <a14:imgEffect>
                      <a14:saturation sat="105000"/>
                    </a14:imgEffect>
                  </a14:imgLayer>
                </a14:imgProps>
              </a:ext>
            </a:extLst>
          </a:blip>
          <a:stretch>
            <a:fillRect/>
          </a:stretch>
        </p:blipFill>
        <p:spPr>
          <a:xfrm>
            <a:off x="0" y="2172"/>
            <a:ext cx="12192000" cy="6855828"/>
          </a:xfrm>
          <a:prstGeom prst="rect">
            <a:avLst/>
          </a:prstGeom>
        </p:spPr>
      </p:pic>
      <p:sp>
        <p:nvSpPr>
          <p:cNvPr id="118" name="矩形 117"/>
          <p:cNvSpPr/>
          <p:nvPr userDrawn="1"/>
        </p:nvSpPr>
        <p:spPr>
          <a:xfrm>
            <a:off x="0" y="0"/>
            <a:ext cx="12192000" cy="4190035"/>
          </a:xfrm>
          <a:prstGeom prst="rect">
            <a:avLst/>
          </a:prstGeom>
          <a:gradFill flip="none" rotWithShape="1">
            <a:gsLst>
              <a:gs pos="4000">
                <a:schemeClr val="bg1">
                  <a:alpha val="0"/>
                </a:schemeClr>
              </a:gs>
              <a:gs pos="16000">
                <a:schemeClr val="bg1">
                  <a:alpha val="60000"/>
                </a:schemeClr>
              </a:gs>
              <a:gs pos="100000">
                <a:schemeClr val="bg1">
                  <a:alpha val="8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1" name="组合 120"/>
          <p:cNvGrpSpPr/>
          <p:nvPr userDrawn="1"/>
        </p:nvGrpSpPr>
        <p:grpSpPr>
          <a:xfrm>
            <a:off x="5271655" y="1112449"/>
            <a:ext cx="1648690" cy="560362"/>
            <a:chOff x="1398368" y="5051425"/>
            <a:chExt cx="3242941" cy="1102222"/>
          </a:xfrm>
        </p:grpSpPr>
        <p:sp>
          <p:nvSpPr>
            <p:cNvPr id="12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25" name="组合 124"/>
            <p:cNvGrpSpPr/>
            <p:nvPr/>
          </p:nvGrpSpPr>
          <p:grpSpPr>
            <a:xfrm>
              <a:off x="2921957" y="5168150"/>
              <a:ext cx="542765" cy="642593"/>
              <a:chOff x="3102298" y="5183391"/>
              <a:chExt cx="501880" cy="594188"/>
            </a:xfrm>
          </p:grpSpPr>
          <p:sp>
            <p:nvSpPr>
              <p:cNvPr id="16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6" name="组合 125"/>
            <p:cNvGrpSpPr/>
            <p:nvPr/>
          </p:nvGrpSpPr>
          <p:grpSpPr>
            <a:xfrm>
              <a:off x="4196892" y="5154476"/>
              <a:ext cx="444417" cy="649987"/>
              <a:chOff x="4257853" y="5169716"/>
              <a:chExt cx="410940" cy="601025"/>
            </a:xfrm>
          </p:grpSpPr>
          <p:sp>
            <p:nvSpPr>
              <p:cNvPr id="16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 name="标题 1"/>
          <p:cNvSpPr>
            <a:spLocks noGrp="1"/>
          </p:cNvSpPr>
          <p:nvPr>
            <p:ph type="ctrTitle"/>
          </p:nvPr>
        </p:nvSpPr>
        <p:spPr>
          <a:xfrm>
            <a:off x="1554867" y="2032403"/>
            <a:ext cx="9082268" cy="923330"/>
          </a:xfrm>
        </p:spPr>
        <p:txBody>
          <a:bodyPr lIns="0" tIns="0" rIns="0" bIns="0" anchor="ctr">
            <a:noAutofit/>
          </a:bodyPr>
          <a:lstStyle>
            <a:lvl1pPr marL="0" algn="ctr" defTabSz="457200" rtl="0" eaLnBrk="1" latinLnBrk="0" hangingPunct="1">
              <a:lnSpc>
                <a:spcPct val="100000"/>
              </a:lnSpc>
              <a:spcBef>
                <a:spcPts val="0"/>
              </a:spcBef>
              <a:defRPr lang="en-US" sz="5400" b="1" kern="1200" spc="300" dirty="0">
                <a:solidFill>
                  <a:schemeClr val="accent1"/>
                </a:solidFill>
                <a:latin typeface="+mn-lt"/>
                <a:ea typeface="+mn-ea"/>
                <a:cs typeface="+mn-cs"/>
              </a:defRPr>
            </a:lvl1pPr>
          </a:lstStyle>
          <a:p>
            <a:endParaRPr lang="en-US" dirty="0"/>
          </a:p>
        </p:txBody>
      </p:sp>
      <p:sp>
        <p:nvSpPr>
          <p:cNvPr id="3" name="副标题 2"/>
          <p:cNvSpPr>
            <a:spLocks noGrp="1"/>
          </p:cNvSpPr>
          <p:nvPr>
            <p:ph type="subTitle" idx="1"/>
          </p:nvPr>
        </p:nvSpPr>
        <p:spPr>
          <a:xfrm>
            <a:off x="1554867" y="2982132"/>
            <a:ext cx="9082268" cy="400110"/>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30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5" name="文本占位符 4"/>
          <p:cNvSpPr>
            <a:spLocks noGrp="1"/>
          </p:cNvSpPr>
          <p:nvPr>
            <p:ph type="body" sz="quarter" idx="15"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63" name="文本占位符 4"/>
          <p:cNvSpPr>
            <a:spLocks noGrp="1"/>
          </p:cNvSpPr>
          <p:nvPr>
            <p:ph type="body" sz="quarter" idx="16"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173" name="矩形 172"/>
          <p:cNvSpPr/>
          <p:nvPr userDrawn="1"/>
        </p:nvSpPr>
        <p:spPr>
          <a:xfrm>
            <a:off x="1554867" y="3469009"/>
            <a:ext cx="9082268" cy="32747"/>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74" name="任意多边形: 形状 173"/>
          <p:cNvSpPr/>
          <p:nvPr userDrawn="1"/>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任意多边形: 形状 174"/>
          <p:cNvSpPr/>
          <p:nvPr userDrawn="1"/>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1" fmla="*/ 0 w 550718"/>
              <a:gd name="connsiteY0-2" fmla="*/ 15239 h 766502"/>
              <a:gd name="connsiteX1-3" fmla="*/ 471574 w 550718"/>
              <a:gd name="connsiteY1-4" fmla="*/ 0 h 766502"/>
              <a:gd name="connsiteX2-5" fmla="*/ 550718 w 550718"/>
              <a:gd name="connsiteY2-6" fmla="*/ 15239 h 766502"/>
              <a:gd name="connsiteX3-7" fmla="*/ 550718 w 550718"/>
              <a:gd name="connsiteY3-8" fmla="*/ 49529 h 766502"/>
              <a:gd name="connsiteX4-9" fmla="*/ 550718 w 550718"/>
              <a:gd name="connsiteY4-10" fmla="*/ 112394 h 766502"/>
              <a:gd name="connsiteX5-11" fmla="*/ 550718 w 550718"/>
              <a:gd name="connsiteY5-12" fmla="*/ 766502 h 766502"/>
              <a:gd name="connsiteX6-13" fmla="*/ 332814 w 550718"/>
              <a:gd name="connsiteY6-14" fmla="*/ 766502 h 766502"/>
              <a:gd name="connsiteX7-15" fmla="*/ 275359 w 550718"/>
              <a:gd name="connsiteY7-16" fmla="*/ 654877 h 766502"/>
              <a:gd name="connsiteX8-17" fmla="*/ 217904 w 550718"/>
              <a:gd name="connsiteY8-18" fmla="*/ 766502 h 766502"/>
              <a:gd name="connsiteX9-19" fmla="*/ 0 w 550718"/>
              <a:gd name="connsiteY9-20" fmla="*/ 766502 h 766502"/>
              <a:gd name="connsiteX10-21" fmla="*/ 0 w 550718"/>
              <a:gd name="connsiteY10-22" fmla="*/ 112394 h 766502"/>
              <a:gd name="connsiteX11" fmla="*/ 0 w 550718"/>
              <a:gd name="connsiteY11" fmla="*/ 49529 h 766502"/>
              <a:gd name="connsiteX12" fmla="*/ 0 w 550718"/>
              <a:gd name="connsiteY12" fmla="*/ 15239 h 766502"/>
              <a:gd name="connsiteX0-23" fmla="*/ 471574 w 563014"/>
              <a:gd name="connsiteY0-24" fmla="*/ 0 h 766502"/>
              <a:gd name="connsiteX1-25" fmla="*/ 550718 w 563014"/>
              <a:gd name="connsiteY1-26" fmla="*/ 15239 h 766502"/>
              <a:gd name="connsiteX2-27" fmla="*/ 550718 w 563014"/>
              <a:gd name="connsiteY2-28" fmla="*/ 49529 h 766502"/>
              <a:gd name="connsiteX3-29" fmla="*/ 550718 w 563014"/>
              <a:gd name="connsiteY3-30" fmla="*/ 112394 h 766502"/>
              <a:gd name="connsiteX4-31" fmla="*/ 550718 w 563014"/>
              <a:gd name="connsiteY4-32" fmla="*/ 766502 h 766502"/>
              <a:gd name="connsiteX5-33" fmla="*/ 332814 w 563014"/>
              <a:gd name="connsiteY5-34" fmla="*/ 766502 h 766502"/>
              <a:gd name="connsiteX6-35" fmla="*/ 275359 w 563014"/>
              <a:gd name="connsiteY6-36" fmla="*/ 654877 h 766502"/>
              <a:gd name="connsiteX7-37" fmla="*/ 217904 w 563014"/>
              <a:gd name="connsiteY7-38" fmla="*/ 766502 h 766502"/>
              <a:gd name="connsiteX8-39" fmla="*/ 0 w 563014"/>
              <a:gd name="connsiteY8-40" fmla="*/ 766502 h 766502"/>
              <a:gd name="connsiteX9-41" fmla="*/ 0 w 563014"/>
              <a:gd name="connsiteY9-42" fmla="*/ 112394 h 766502"/>
              <a:gd name="connsiteX10-43" fmla="*/ 0 w 563014"/>
              <a:gd name="connsiteY10-44" fmla="*/ 49529 h 766502"/>
              <a:gd name="connsiteX11-45" fmla="*/ 0 w 563014"/>
              <a:gd name="connsiteY11-46" fmla="*/ 15239 h 766502"/>
              <a:gd name="connsiteX12-47" fmla="*/ 563014 w 563014"/>
              <a:gd name="connsiteY12-48" fmla="*/ 91440 h 766502"/>
              <a:gd name="connsiteX0-49" fmla="*/ 550718 w 563014"/>
              <a:gd name="connsiteY0-50" fmla="*/ 1132 h 752395"/>
              <a:gd name="connsiteX1-51" fmla="*/ 550718 w 563014"/>
              <a:gd name="connsiteY1-52" fmla="*/ 35422 h 752395"/>
              <a:gd name="connsiteX2-53" fmla="*/ 550718 w 563014"/>
              <a:gd name="connsiteY2-54" fmla="*/ 98287 h 752395"/>
              <a:gd name="connsiteX3-55" fmla="*/ 550718 w 563014"/>
              <a:gd name="connsiteY3-56" fmla="*/ 752395 h 752395"/>
              <a:gd name="connsiteX4-57" fmla="*/ 332814 w 563014"/>
              <a:gd name="connsiteY4-58" fmla="*/ 752395 h 752395"/>
              <a:gd name="connsiteX5-59" fmla="*/ 275359 w 563014"/>
              <a:gd name="connsiteY5-60" fmla="*/ 640770 h 752395"/>
              <a:gd name="connsiteX6-61" fmla="*/ 217904 w 563014"/>
              <a:gd name="connsiteY6-62" fmla="*/ 752395 h 752395"/>
              <a:gd name="connsiteX7-63" fmla="*/ 0 w 563014"/>
              <a:gd name="connsiteY7-64" fmla="*/ 752395 h 752395"/>
              <a:gd name="connsiteX8-65" fmla="*/ 0 w 563014"/>
              <a:gd name="connsiteY8-66" fmla="*/ 98287 h 752395"/>
              <a:gd name="connsiteX9-67" fmla="*/ 0 w 563014"/>
              <a:gd name="connsiteY9-68" fmla="*/ 35422 h 752395"/>
              <a:gd name="connsiteX10-69" fmla="*/ 0 w 563014"/>
              <a:gd name="connsiteY10-70" fmla="*/ 1132 h 752395"/>
              <a:gd name="connsiteX11-71" fmla="*/ 563014 w 563014"/>
              <a:gd name="connsiteY11-72" fmla="*/ 77333 h 752395"/>
              <a:gd name="connsiteX0-73" fmla="*/ 550718 w 550718"/>
              <a:gd name="connsiteY0-74" fmla="*/ 0 h 751263"/>
              <a:gd name="connsiteX1-75" fmla="*/ 550718 w 550718"/>
              <a:gd name="connsiteY1-76" fmla="*/ 34290 h 751263"/>
              <a:gd name="connsiteX2-77" fmla="*/ 550718 w 550718"/>
              <a:gd name="connsiteY2-78" fmla="*/ 97155 h 751263"/>
              <a:gd name="connsiteX3-79" fmla="*/ 550718 w 550718"/>
              <a:gd name="connsiteY3-80" fmla="*/ 751263 h 751263"/>
              <a:gd name="connsiteX4-81" fmla="*/ 332814 w 550718"/>
              <a:gd name="connsiteY4-82" fmla="*/ 751263 h 751263"/>
              <a:gd name="connsiteX5-83" fmla="*/ 275359 w 550718"/>
              <a:gd name="connsiteY5-84" fmla="*/ 639638 h 751263"/>
              <a:gd name="connsiteX6-85" fmla="*/ 217904 w 550718"/>
              <a:gd name="connsiteY6-86" fmla="*/ 751263 h 751263"/>
              <a:gd name="connsiteX7-87" fmla="*/ 0 w 550718"/>
              <a:gd name="connsiteY7-88" fmla="*/ 751263 h 751263"/>
              <a:gd name="connsiteX8-89" fmla="*/ 0 w 550718"/>
              <a:gd name="connsiteY8-90" fmla="*/ 97155 h 751263"/>
              <a:gd name="connsiteX9-91" fmla="*/ 0 w 550718"/>
              <a:gd name="connsiteY9-92" fmla="*/ 34290 h 751263"/>
              <a:gd name="connsiteX10-93" fmla="*/ 0 w 550718"/>
              <a:gd name="connsiteY10-94" fmla="*/ 0 h 75126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目录3-1">
    <p:spTree>
      <p:nvGrpSpPr>
        <p:cNvPr id="1" name=""/>
        <p:cNvGrpSpPr/>
        <p:nvPr/>
      </p:nvGrpSpPr>
      <p:grpSpPr>
        <a:xfrm>
          <a:off x="0" y="0"/>
          <a:ext cx="0" cy="0"/>
          <a:chOff x="0" y="0"/>
          <a:chExt cx="0" cy="0"/>
        </a:xfrm>
      </p:grpSpPr>
      <p:sp>
        <p:nvSpPr>
          <p:cNvPr id="7" name="文本框 6"/>
          <p:cNvSpPr txBox="1"/>
          <p:nvPr userDrawn="1"/>
        </p:nvSpPr>
        <p:spPr>
          <a:xfrm>
            <a:off x="9224996" y="4705700"/>
            <a:ext cx="766112" cy="964050"/>
          </a:xfrm>
          <a:custGeom>
            <a:avLst/>
            <a:gdLst/>
            <a:ahLst/>
            <a:cxnLst/>
            <a:rect l="l" t="t" r="r" b="b"/>
            <a:pathLst>
              <a:path w="520155" h="654546">
                <a:moveTo>
                  <a:pt x="0" y="0"/>
                </a:moveTo>
                <a:lnTo>
                  <a:pt x="520155" y="0"/>
                </a:lnTo>
                <a:lnTo>
                  <a:pt x="520155" y="110728"/>
                </a:lnTo>
                <a:lnTo>
                  <a:pt x="326380" y="110728"/>
                </a:lnTo>
                <a:lnTo>
                  <a:pt x="326380" y="654546"/>
                </a:lnTo>
                <a:lnTo>
                  <a:pt x="194221" y="654546"/>
                </a:lnTo>
                <a:lnTo>
                  <a:pt x="194221" y="110728"/>
                </a:lnTo>
                <a:lnTo>
                  <a:pt x="0" y="110728"/>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8" name="文本框 7"/>
          <p:cNvSpPr txBox="1"/>
          <p:nvPr userDrawn="1"/>
        </p:nvSpPr>
        <p:spPr>
          <a:xfrm>
            <a:off x="10506309" y="4693209"/>
            <a:ext cx="783865" cy="997588"/>
          </a:xfrm>
          <a:custGeom>
            <a:avLst/>
            <a:gdLst/>
            <a:ahLst/>
            <a:cxnLst/>
            <a:rect l="l" t="t" r="r" b="b"/>
            <a:pathLst>
              <a:path w="532209" h="677316">
                <a:moveTo>
                  <a:pt x="262533" y="0"/>
                </a:moveTo>
                <a:cubicBezTo>
                  <a:pt x="344686" y="0"/>
                  <a:pt x="406524" y="18008"/>
                  <a:pt x="448047" y="54024"/>
                </a:cubicBezTo>
                <a:cubicBezTo>
                  <a:pt x="489570" y="90041"/>
                  <a:pt x="511373" y="138112"/>
                  <a:pt x="513457" y="198239"/>
                </a:cubicBezTo>
                <a:lnTo>
                  <a:pt x="381298" y="204043"/>
                </a:lnTo>
                <a:cubicBezTo>
                  <a:pt x="375642" y="170408"/>
                  <a:pt x="363513" y="146223"/>
                  <a:pt x="344909" y="131489"/>
                </a:cubicBezTo>
                <a:cubicBezTo>
                  <a:pt x="326306" y="116755"/>
                  <a:pt x="298400" y="109388"/>
                  <a:pt x="261193" y="109388"/>
                </a:cubicBezTo>
                <a:cubicBezTo>
                  <a:pt x="222796" y="109388"/>
                  <a:pt x="192732" y="117276"/>
                  <a:pt x="171003" y="133052"/>
                </a:cubicBezTo>
                <a:cubicBezTo>
                  <a:pt x="157014" y="143172"/>
                  <a:pt x="150019" y="156716"/>
                  <a:pt x="150019" y="173682"/>
                </a:cubicBezTo>
                <a:cubicBezTo>
                  <a:pt x="150019" y="189160"/>
                  <a:pt x="156567" y="202406"/>
                  <a:pt x="169664" y="213419"/>
                </a:cubicBezTo>
                <a:cubicBezTo>
                  <a:pt x="186333" y="227409"/>
                  <a:pt x="226814" y="241994"/>
                  <a:pt x="291108" y="257175"/>
                </a:cubicBezTo>
                <a:cubicBezTo>
                  <a:pt x="355401" y="272355"/>
                  <a:pt x="402952" y="288056"/>
                  <a:pt x="433759" y="304279"/>
                </a:cubicBezTo>
                <a:cubicBezTo>
                  <a:pt x="464567" y="320501"/>
                  <a:pt x="488677" y="342676"/>
                  <a:pt x="506090" y="370805"/>
                </a:cubicBezTo>
                <a:cubicBezTo>
                  <a:pt x="523503" y="398933"/>
                  <a:pt x="532209" y="433685"/>
                  <a:pt x="532209" y="475059"/>
                </a:cubicBezTo>
                <a:cubicBezTo>
                  <a:pt x="532209" y="512564"/>
                  <a:pt x="521791" y="547687"/>
                  <a:pt x="500955" y="580429"/>
                </a:cubicBezTo>
                <a:cubicBezTo>
                  <a:pt x="480119" y="613171"/>
                  <a:pt x="450651" y="637505"/>
                  <a:pt x="412551" y="653429"/>
                </a:cubicBezTo>
                <a:cubicBezTo>
                  <a:pt x="374451" y="669354"/>
                  <a:pt x="326975" y="677316"/>
                  <a:pt x="270123" y="677316"/>
                </a:cubicBezTo>
                <a:cubicBezTo>
                  <a:pt x="187374" y="677316"/>
                  <a:pt x="123825" y="658192"/>
                  <a:pt x="79474" y="619943"/>
                </a:cubicBezTo>
                <a:cubicBezTo>
                  <a:pt x="35123" y="581694"/>
                  <a:pt x="8632" y="525958"/>
                  <a:pt x="0" y="452735"/>
                </a:cubicBezTo>
                <a:lnTo>
                  <a:pt x="128587" y="440233"/>
                </a:lnTo>
                <a:cubicBezTo>
                  <a:pt x="136326" y="483393"/>
                  <a:pt x="152028" y="515094"/>
                  <a:pt x="175691" y="535334"/>
                </a:cubicBezTo>
                <a:cubicBezTo>
                  <a:pt x="199355" y="555575"/>
                  <a:pt x="231279" y="565695"/>
                  <a:pt x="271462" y="565695"/>
                </a:cubicBezTo>
                <a:cubicBezTo>
                  <a:pt x="314027" y="565695"/>
                  <a:pt x="346100" y="556691"/>
                  <a:pt x="367680" y="538683"/>
                </a:cubicBezTo>
                <a:cubicBezTo>
                  <a:pt x="389260" y="520675"/>
                  <a:pt x="400050" y="499616"/>
                  <a:pt x="400050" y="475505"/>
                </a:cubicBezTo>
                <a:cubicBezTo>
                  <a:pt x="400050" y="460027"/>
                  <a:pt x="395511" y="446856"/>
                  <a:pt x="386432" y="435991"/>
                </a:cubicBezTo>
                <a:cubicBezTo>
                  <a:pt x="377354" y="425127"/>
                  <a:pt x="361503" y="415676"/>
                  <a:pt x="338882" y="407640"/>
                </a:cubicBezTo>
                <a:cubicBezTo>
                  <a:pt x="323403" y="402282"/>
                  <a:pt x="288131" y="392757"/>
                  <a:pt x="233065" y="379065"/>
                </a:cubicBezTo>
                <a:cubicBezTo>
                  <a:pt x="162222" y="361503"/>
                  <a:pt x="112514" y="339923"/>
                  <a:pt x="83939" y="314325"/>
                </a:cubicBezTo>
                <a:cubicBezTo>
                  <a:pt x="43755" y="278308"/>
                  <a:pt x="23664" y="234404"/>
                  <a:pt x="23664" y="182612"/>
                </a:cubicBezTo>
                <a:cubicBezTo>
                  <a:pt x="23664" y="149274"/>
                  <a:pt x="33114" y="118095"/>
                  <a:pt x="52015" y="89073"/>
                </a:cubicBezTo>
                <a:cubicBezTo>
                  <a:pt x="70916" y="60052"/>
                  <a:pt x="98152" y="37951"/>
                  <a:pt x="133722" y="22770"/>
                </a:cubicBezTo>
                <a:cubicBezTo>
                  <a:pt x="169292" y="7590"/>
                  <a:pt x="212229" y="0"/>
                  <a:pt x="262533"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9" name="文本框 8"/>
          <p:cNvSpPr txBox="1"/>
          <p:nvPr userDrawn="1"/>
        </p:nvSpPr>
        <p:spPr>
          <a:xfrm>
            <a:off x="1329968" y="4693209"/>
            <a:ext cx="839765" cy="996932"/>
          </a:xfrm>
          <a:custGeom>
            <a:avLst/>
            <a:gdLst/>
            <a:ahLst/>
            <a:cxnLst/>
            <a:rect l="l" t="t" r="r" b="b"/>
            <a:pathLst>
              <a:path w="570161" h="676870">
                <a:moveTo>
                  <a:pt x="306288" y="0"/>
                </a:moveTo>
                <a:cubicBezTo>
                  <a:pt x="386358" y="0"/>
                  <a:pt x="451396" y="23663"/>
                  <a:pt x="501402" y="70991"/>
                </a:cubicBezTo>
                <a:cubicBezTo>
                  <a:pt x="531168" y="98970"/>
                  <a:pt x="553492" y="139154"/>
                  <a:pt x="568375" y="191541"/>
                </a:cubicBezTo>
                <a:lnTo>
                  <a:pt x="437555" y="222795"/>
                </a:lnTo>
                <a:cubicBezTo>
                  <a:pt x="429816" y="188862"/>
                  <a:pt x="413668" y="162073"/>
                  <a:pt x="389111" y="142428"/>
                </a:cubicBezTo>
                <a:cubicBezTo>
                  <a:pt x="364555" y="122783"/>
                  <a:pt x="334715" y="112960"/>
                  <a:pt x="299591" y="112960"/>
                </a:cubicBezTo>
                <a:cubicBezTo>
                  <a:pt x="251073" y="112960"/>
                  <a:pt x="211708" y="130373"/>
                  <a:pt x="181496" y="165199"/>
                </a:cubicBezTo>
                <a:cubicBezTo>
                  <a:pt x="151284" y="200025"/>
                  <a:pt x="136178" y="256430"/>
                  <a:pt x="136178" y="334416"/>
                </a:cubicBezTo>
                <a:cubicBezTo>
                  <a:pt x="136178" y="417165"/>
                  <a:pt x="151061" y="476101"/>
                  <a:pt x="180826" y="511224"/>
                </a:cubicBezTo>
                <a:cubicBezTo>
                  <a:pt x="210592" y="546348"/>
                  <a:pt x="249287" y="563909"/>
                  <a:pt x="296912" y="563909"/>
                </a:cubicBezTo>
                <a:cubicBezTo>
                  <a:pt x="332036" y="563909"/>
                  <a:pt x="362248" y="552747"/>
                  <a:pt x="387549" y="530423"/>
                </a:cubicBezTo>
                <a:cubicBezTo>
                  <a:pt x="412849" y="508099"/>
                  <a:pt x="431006" y="472975"/>
                  <a:pt x="442020" y="425053"/>
                </a:cubicBezTo>
                <a:lnTo>
                  <a:pt x="570161" y="465683"/>
                </a:lnTo>
                <a:cubicBezTo>
                  <a:pt x="550515" y="537120"/>
                  <a:pt x="517848" y="590177"/>
                  <a:pt x="472157" y="624854"/>
                </a:cubicBezTo>
                <a:cubicBezTo>
                  <a:pt x="426467" y="659531"/>
                  <a:pt x="368499" y="676870"/>
                  <a:pt x="298252" y="676870"/>
                </a:cubicBezTo>
                <a:cubicBezTo>
                  <a:pt x="211336" y="676870"/>
                  <a:pt x="139899" y="647179"/>
                  <a:pt x="83939" y="587796"/>
                </a:cubicBezTo>
                <a:cubicBezTo>
                  <a:pt x="27980" y="528414"/>
                  <a:pt x="0" y="447228"/>
                  <a:pt x="0" y="344239"/>
                </a:cubicBezTo>
                <a:cubicBezTo>
                  <a:pt x="0" y="235297"/>
                  <a:pt x="28129" y="150688"/>
                  <a:pt x="84386" y="90413"/>
                </a:cubicBezTo>
                <a:cubicBezTo>
                  <a:pt x="140643" y="30137"/>
                  <a:pt x="214610" y="0"/>
                  <a:pt x="306288"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10" name="文本框 9"/>
          <p:cNvSpPr txBox="1"/>
          <p:nvPr userDrawn="1"/>
        </p:nvSpPr>
        <p:spPr>
          <a:xfrm>
            <a:off x="2684935" y="4693210"/>
            <a:ext cx="935117" cy="996931"/>
          </a:xfrm>
          <a:custGeom>
            <a:avLst/>
            <a:gdLst/>
            <a:ahLst/>
            <a:cxnLst/>
            <a:rect l="l" t="t" r="r" b="b"/>
            <a:pathLst>
              <a:path w="634901" h="676870">
                <a:moveTo>
                  <a:pt x="317897" y="112960"/>
                </a:moveTo>
                <a:cubicBezTo>
                  <a:pt x="263426" y="112960"/>
                  <a:pt x="219522" y="131638"/>
                  <a:pt x="186184" y="168994"/>
                </a:cubicBezTo>
                <a:cubicBezTo>
                  <a:pt x="152847" y="206350"/>
                  <a:pt x="136178" y="262681"/>
                  <a:pt x="136178" y="337988"/>
                </a:cubicBezTo>
                <a:cubicBezTo>
                  <a:pt x="136178" y="412105"/>
                  <a:pt x="153293" y="468287"/>
                  <a:pt x="187524" y="506536"/>
                </a:cubicBezTo>
                <a:cubicBezTo>
                  <a:pt x="221754" y="544785"/>
                  <a:pt x="265212" y="563909"/>
                  <a:pt x="317897" y="563909"/>
                </a:cubicBezTo>
                <a:cubicBezTo>
                  <a:pt x="370582" y="563909"/>
                  <a:pt x="413817" y="544934"/>
                  <a:pt x="447601" y="506982"/>
                </a:cubicBezTo>
                <a:cubicBezTo>
                  <a:pt x="481385" y="469031"/>
                  <a:pt x="498277" y="412105"/>
                  <a:pt x="498277" y="336202"/>
                </a:cubicBezTo>
                <a:cubicBezTo>
                  <a:pt x="498277" y="261193"/>
                  <a:pt x="481831" y="205234"/>
                  <a:pt x="448940" y="168324"/>
                </a:cubicBezTo>
                <a:cubicBezTo>
                  <a:pt x="416049" y="131415"/>
                  <a:pt x="372368" y="112960"/>
                  <a:pt x="317897" y="112960"/>
                </a:cubicBezTo>
                <a:close/>
                <a:moveTo>
                  <a:pt x="316558" y="0"/>
                </a:moveTo>
                <a:cubicBezTo>
                  <a:pt x="412998" y="0"/>
                  <a:pt x="490166" y="29914"/>
                  <a:pt x="548060" y="89743"/>
                </a:cubicBezTo>
                <a:cubicBezTo>
                  <a:pt x="605954" y="149572"/>
                  <a:pt x="634901" y="232767"/>
                  <a:pt x="634901" y="339328"/>
                </a:cubicBezTo>
                <a:cubicBezTo>
                  <a:pt x="634901" y="444996"/>
                  <a:pt x="606177" y="527670"/>
                  <a:pt x="548730" y="587350"/>
                </a:cubicBezTo>
                <a:cubicBezTo>
                  <a:pt x="491282" y="647030"/>
                  <a:pt x="414487" y="676870"/>
                  <a:pt x="318344" y="676870"/>
                </a:cubicBezTo>
                <a:cubicBezTo>
                  <a:pt x="221010" y="676870"/>
                  <a:pt x="143619" y="647179"/>
                  <a:pt x="86172" y="587796"/>
                </a:cubicBezTo>
                <a:cubicBezTo>
                  <a:pt x="28724" y="528414"/>
                  <a:pt x="0" y="446633"/>
                  <a:pt x="0" y="342453"/>
                </a:cubicBezTo>
                <a:cubicBezTo>
                  <a:pt x="0" y="275778"/>
                  <a:pt x="9972" y="219819"/>
                  <a:pt x="29915" y="174575"/>
                </a:cubicBezTo>
                <a:cubicBezTo>
                  <a:pt x="44798" y="141237"/>
                  <a:pt x="65113" y="111323"/>
                  <a:pt x="90860" y="84832"/>
                </a:cubicBezTo>
                <a:cubicBezTo>
                  <a:pt x="116607" y="58340"/>
                  <a:pt x="144810" y="38695"/>
                  <a:pt x="175469" y="25896"/>
                </a:cubicBezTo>
                <a:cubicBezTo>
                  <a:pt x="216248" y="8632"/>
                  <a:pt x="263277" y="0"/>
                  <a:pt x="316558"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11" name="文本框 10"/>
          <p:cNvSpPr txBox="1"/>
          <p:nvPr userDrawn="1"/>
        </p:nvSpPr>
        <p:spPr>
          <a:xfrm>
            <a:off x="6696565" y="4705701"/>
            <a:ext cx="733231" cy="964052"/>
          </a:xfrm>
          <a:custGeom>
            <a:avLst/>
            <a:gdLst/>
            <a:ahLst/>
            <a:cxnLst/>
            <a:rect l="l" t="t" r="r" b="b"/>
            <a:pathLst>
              <a:path w="497830" h="654546">
                <a:moveTo>
                  <a:pt x="0" y="0"/>
                </a:moveTo>
                <a:lnTo>
                  <a:pt x="485329" y="0"/>
                </a:lnTo>
                <a:lnTo>
                  <a:pt x="485329" y="110728"/>
                </a:lnTo>
                <a:lnTo>
                  <a:pt x="132160" y="110728"/>
                </a:lnTo>
                <a:lnTo>
                  <a:pt x="132160" y="255835"/>
                </a:lnTo>
                <a:lnTo>
                  <a:pt x="460772" y="255835"/>
                </a:lnTo>
                <a:lnTo>
                  <a:pt x="460772" y="366117"/>
                </a:lnTo>
                <a:lnTo>
                  <a:pt x="132160" y="366117"/>
                </a:lnTo>
                <a:lnTo>
                  <a:pt x="132160" y="544264"/>
                </a:lnTo>
                <a:lnTo>
                  <a:pt x="497830" y="544264"/>
                </a:lnTo>
                <a:lnTo>
                  <a:pt x="497830"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pic>
        <p:nvPicPr>
          <p:cNvPr id="12" name="图片 11"/>
          <p:cNvPicPr>
            <a:picLocks noChangeAspect="1"/>
          </p:cNvPicPr>
          <p:nvPr userDrawn="1"/>
        </p:nvPicPr>
        <p:blipFill rotWithShape="1">
          <a:blip r:embed="rId2" cstate="email">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5000"/>
                    </a14:imgEffect>
                    <a14:imgEffect>
                      <a14:colorTemperature colorTemp="4700"/>
                    </a14:imgEffect>
                  </a14:imgLayer>
                </a14:imgProps>
              </a:ext>
            </a:extLst>
          </a:blip>
          <a:srcRect t="23141"/>
          <a:stretch>
            <a:fillRect/>
          </a:stretch>
        </p:blipFill>
        <p:spPr>
          <a:xfrm>
            <a:off x="0" y="4085862"/>
            <a:ext cx="12192000" cy="2772137"/>
          </a:xfrm>
          <a:prstGeom prst="rect">
            <a:avLst/>
          </a:prstGeom>
        </p:spPr>
      </p:pic>
      <p:grpSp>
        <p:nvGrpSpPr>
          <p:cNvPr id="112" name="组合 111"/>
          <p:cNvGrpSpPr/>
          <p:nvPr userDrawn="1"/>
        </p:nvGrpSpPr>
        <p:grpSpPr>
          <a:xfrm>
            <a:off x="8431598" y="0"/>
            <a:ext cx="3760402" cy="4528788"/>
            <a:chOff x="8431598" y="0"/>
            <a:chExt cx="3760402" cy="4528788"/>
          </a:xfrm>
        </p:grpSpPr>
        <p:sp>
          <p:nvSpPr>
            <p:cNvPr id="111" name="任意多边形: 形状 110"/>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10" name="任意多边形: 形状 109"/>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9" name="任意多边形: 形状 108"/>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sp>
        <p:nvSpPr>
          <p:cNvPr id="32" name="平行四边形 31"/>
          <p:cNvSpPr/>
          <p:nvPr userDrawn="1"/>
        </p:nvSpPr>
        <p:spPr>
          <a:xfrm>
            <a:off x="290218" y="-24137"/>
            <a:ext cx="2818743" cy="6325432"/>
          </a:xfrm>
          <a:prstGeom prst="parallelogram">
            <a:avLst>
              <a:gd name="adj" fmla="val 63107"/>
            </a:avLst>
          </a:pr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05" name="任意多边形: 形状 104"/>
          <p:cNvSpPr/>
          <p:nvPr userDrawn="1"/>
        </p:nvSpPr>
        <p:spPr>
          <a:xfrm>
            <a:off x="0" y="1"/>
            <a:ext cx="2821146" cy="6301295"/>
          </a:xfrm>
          <a:custGeom>
            <a:avLst/>
            <a:gdLst>
              <a:gd name="connsiteX0" fmla="*/ 0 w 2821146"/>
              <a:gd name="connsiteY0" fmla="*/ 0 h 6301295"/>
              <a:gd name="connsiteX1" fmla="*/ 2821146 w 2821146"/>
              <a:gd name="connsiteY1" fmla="*/ 0 h 6301295"/>
              <a:gd name="connsiteX2" fmla="*/ 1027448 w 2821146"/>
              <a:gd name="connsiteY2" fmla="*/ 6301295 h 6301295"/>
              <a:gd name="connsiteX3" fmla="*/ 0 w 2821146"/>
              <a:gd name="connsiteY3" fmla="*/ 6301295 h 6301295"/>
            </a:gdLst>
            <a:ahLst/>
            <a:cxnLst>
              <a:cxn ang="0">
                <a:pos x="connsiteX0" y="connsiteY0"/>
              </a:cxn>
              <a:cxn ang="0">
                <a:pos x="connsiteX1" y="connsiteY1"/>
              </a:cxn>
              <a:cxn ang="0">
                <a:pos x="connsiteX2" y="connsiteY2"/>
              </a:cxn>
              <a:cxn ang="0">
                <a:pos x="connsiteX3" y="connsiteY3"/>
              </a:cxn>
            </a:cxnLst>
            <a:rect l="l" t="t" r="r" b="b"/>
            <a:pathLst>
              <a:path w="2821146" h="6301295">
                <a:moveTo>
                  <a:pt x="0" y="0"/>
                </a:moveTo>
                <a:lnTo>
                  <a:pt x="2821146" y="0"/>
                </a:lnTo>
                <a:lnTo>
                  <a:pt x="1027448" y="6301295"/>
                </a:lnTo>
                <a:lnTo>
                  <a:pt x="0" y="6301295"/>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文本框 34"/>
          <p:cNvSpPr txBox="1"/>
          <p:nvPr userDrawn="1"/>
        </p:nvSpPr>
        <p:spPr>
          <a:xfrm>
            <a:off x="4135254" y="4705701"/>
            <a:ext cx="764796" cy="964052"/>
          </a:xfrm>
          <a:custGeom>
            <a:avLst/>
            <a:gdLst/>
            <a:ahLst/>
            <a:cxnLst/>
            <a:rect l="l" t="t" r="r" b="b"/>
            <a:pathLst>
              <a:path w="519261" h="654546">
                <a:moveTo>
                  <a:pt x="0" y="0"/>
                </a:moveTo>
                <a:lnTo>
                  <a:pt x="128587" y="0"/>
                </a:lnTo>
                <a:lnTo>
                  <a:pt x="396478" y="437108"/>
                </a:lnTo>
                <a:lnTo>
                  <a:pt x="396478" y="0"/>
                </a:lnTo>
                <a:lnTo>
                  <a:pt x="519261" y="0"/>
                </a:lnTo>
                <a:lnTo>
                  <a:pt x="519261" y="654546"/>
                </a:lnTo>
                <a:lnTo>
                  <a:pt x="386655" y="654546"/>
                </a:lnTo>
                <a:lnTo>
                  <a:pt x="122783" y="227707"/>
                </a:lnTo>
                <a:lnTo>
                  <a:pt x="122783"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36" name="文本框 35"/>
          <p:cNvSpPr txBox="1"/>
          <p:nvPr userDrawn="1"/>
        </p:nvSpPr>
        <p:spPr>
          <a:xfrm>
            <a:off x="5415252" y="4705700"/>
            <a:ext cx="766111" cy="964050"/>
          </a:xfrm>
          <a:custGeom>
            <a:avLst/>
            <a:gdLst/>
            <a:ahLst/>
            <a:cxnLst/>
            <a:rect l="l" t="t" r="r" b="b"/>
            <a:pathLst>
              <a:path w="520154" h="654546">
                <a:moveTo>
                  <a:pt x="0" y="0"/>
                </a:moveTo>
                <a:lnTo>
                  <a:pt x="520154" y="0"/>
                </a:lnTo>
                <a:lnTo>
                  <a:pt x="520154" y="110728"/>
                </a:lnTo>
                <a:lnTo>
                  <a:pt x="326380" y="110728"/>
                </a:lnTo>
                <a:lnTo>
                  <a:pt x="326380" y="654546"/>
                </a:lnTo>
                <a:lnTo>
                  <a:pt x="194220" y="654546"/>
                </a:lnTo>
                <a:lnTo>
                  <a:pt x="194220" y="110728"/>
                </a:lnTo>
                <a:lnTo>
                  <a:pt x="0" y="110728"/>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37" name="文本框 36"/>
          <p:cNvSpPr txBox="1"/>
          <p:nvPr userDrawn="1"/>
        </p:nvSpPr>
        <p:spPr>
          <a:xfrm>
            <a:off x="7944998" y="4705701"/>
            <a:ext cx="764796" cy="964052"/>
          </a:xfrm>
          <a:custGeom>
            <a:avLst/>
            <a:gdLst/>
            <a:ahLst/>
            <a:cxnLst/>
            <a:rect l="l" t="t" r="r" b="b"/>
            <a:pathLst>
              <a:path w="519261" h="654546">
                <a:moveTo>
                  <a:pt x="0" y="0"/>
                </a:moveTo>
                <a:lnTo>
                  <a:pt x="128587" y="0"/>
                </a:lnTo>
                <a:lnTo>
                  <a:pt x="396478" y="437108"/>
                </a:lnTo>
                <a:lnTo>
                  <a:pt x="396478" y="0"/>
                </a:lnTo>
                <a:lnTo>
                  <a:pt x="519261" y="0"/>
                </a:lnTo>
                <a:lnTo>
                  <a:pt x="519261" y="654546"/>
                </a:lnTo>
                <a:lnTo>
                  <a:pt x="386655" y="654546"/>
                </a:lnTo>
                <a:lnTo>
                  <a:pt x="122783" y="227707"/>
                </a:lnTo>
                <a:lnTo>
                  <a:pt x="122783"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103" name="标题 1"/>
          <p:cNvSpPr>
            <a:spLocks noGrp="1"/>
          </p:cNvSpPr>
          <p:nvPr userDrawn="1">
            <p:ph type="ctrTitle" hasCustomPrompt="1"/>
          </p:nvPr>
        </p:nvSpPr>
        <p:spPr>
          <a:xfrm>
            <a:off x="1010074" y="1104899"/>
            <a:ext cx="910112" cy="2499361"/>
          </a:xfrm>
        </p:spPr>
        <p:txBody>
          <a:bodyPr lIns="0" tIns="0" rIns="0" bIns="0" anchor="ctr">
            <a:noAutofit/>
          </a:bodyPr>
          <a:lstStyle>
            <a:lvl1pPr marL="0" algn="ctr" defTabSz="457200" rtl="0" eaLnBrk="1" latinLnBrk="0" hangingPunct="1">
              <a:lnSpc>
                <a:spcPct val="100000"/>
              </a:lnSpc>
              <a:defRPr lang="en-US" sz="7200" b="1" kern="1200" spc="600" dirty="0">
                <a:solidFill>
                  <a:schemeClr val="accent1"/>
                </a:solidFill>
                <a:latin typeface="+mn-lt"/>
                <a:ea typeface="+mn-ea"/>
                <a:cs typeface="+mn-cs"/>
              </a:defRPr>
            </a:lvl1pPr>
          </a:lstStyle>
          <a:p>
            <a:r>
              <a:rPr lang="zh-CN" altLang="en-US" dirty="0"/>
              <a:t>目录</a:t>
            </a:r>
            <a:endParaRPr lang="en-US" dirty="0"/>
          </a:p>
        </p:txBody>
      </p:sp>
      <p:cxnSp>
        <p:nvCxnSpPr>
          <p:cNvPr id="53" name="直接连接符 52"/>
          <p:cNvCxnSpPr/>
          <p:nvPr userDrawn="1"/>
        </p:nvCxnSpPr>
        <p:spPr>
          <a:xfrm>
            <a:off x="994780" y="1157083"/>
            <a:ext cx="940700" cy="0"/>
          </a:xfrm>
          <a:prstGeom prst="line">
            <a:avLst/>
          </a:prstGeom>
          <a:ln w="63500" cmpd="thickThi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userDrawn="1"/>
        </p:nvCxnSpPr>
        <p:spPr>
          <a:xfrm>
            <a:off x="994780" y="3633583"/>
            <a:ext cx="940700" cy="0"/>
          </a:xfrm>
          <a:prstGeom prst="line">
            <a:avLst/>
          </a:prstGeom>
          <a:ln w="63500" cmpd="thinThick">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05" name="组合 204"/>
          <p:cNvGrpSpPr/>
          <p:nvPr userDrawn="1"/>
        </p:nvGrpSpPr>
        <p:grpSpPr>
          <a:xfrm>
            <a:off x="10477913" y="446123"/>
            <a:ext cx="1234662" cy="419641"/>
            <a:chOff x="1398368" y="5051425"/>
            <a:chExt cx="3242941" cy="1102222"/>
          </a:xfrm>
        </p:grpSpPr>
        <p:sp>
          <p:nvSpPr>
            <p:cNvPr id="206"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8"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209" name="组合 208"/>
            <p:cNvGrpSpPr/>
            <p:nvPr/>
          </p:nvGrpSpPr>
          <p:grpSpPr>
            <a:xfrm>
              <a:off x="2921957" y="5168150"/>
              <a:ext cx="542765" cy="642593"/>
              <a:chOff x="3102298" y="5183391"/>
              <a:chExt cx="501880" cy="594188"/>
            </a:xfrm>
          </p:grpSpPr>
          <p:sp>
            <p:nvSpPr>
              <p:cNvPr id="250"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1"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2"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210" name="组合 209"/>
            <p:cNvGrpSpPr/>
            <p:nvPr/>
          </p:nvGrpSpPr>
          <p:grpSpPr>
            <a:xfrm>
              <a:off x="4196892" y="5154476"/>
              <a:ext cx="444417" cy="649987"/>
              <a:chOff x="4257853" y="5169716"/>
              <a:chExt cx="410940" cy="601025"/>
            </a:xfrm>
          </p:grpSpPr>
          <p:sp>
            <p:nvSpPr>
              <p:cNvPr id="24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8"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9"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1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2"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3"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4"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6"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7"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8"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9"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0"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1"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2"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3"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4"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5"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6"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7"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8"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9"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0"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1"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2"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3"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4"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5"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6"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7"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8"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9"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0"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1"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2"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3"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8" name="矩形: 对角圆角 67"/>
          <p:cNvSpPr/>
          <p:nvPr userDrawn="1"/>
        </p:nvSpPr>
        <p:spPr>
          <a:xfrm>
            <a:off x="3447342" y="1855181"/>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9" name="文本占位符 6"/>
          <p:cNvSpPr>
            <a:spLocks noGrp="1"/>
          </p:cNvSpPr>
          <p:nvPr>
            <p:ph type="body" sz="quarter" idx="10"/>
          </p:nvPr>
        </p:nvSpPr>
        <p:spPr>
          <a:xfrm>
            <a:off x="4250413" y="1462751"/>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0" name="文本占位符 6"/>
          <p:cNvSpPr>
            <a:spLocks noGrp="1"/>
          </p:cNvSpPr>
          <p:nvPr>
            <p:ph type="body" sz="quarter" idx="11"/>
          </p:nvPr>
        </p:nvSpPr>
        <p:spPr>
          <a:xfrm>
            <a:off x="4250413" y="1826433"/>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1" name="文本占位符 6"/>
          <p:cNvSpPr>
            <a:spLocks noGrp="1"/>
          </p:cNvSpPr>
          <p:nvPr>
            <p:ph type="body" sz="quarter" idx="12" hasCustomPrompt="1"/>
          </p:nvPr>
        </p:nvSpPr>
        <p:spPr>
          <a:xfrm>
            <a:off x="3413241" y="1335505"/>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72" name="直接连接符 71"/>
          <p:cNvCxnSpPr/>
          <p:nvPr userDrawn="1"/>
        </p:nvCxnSpPr>
        <p:spPr>
          <a:xfrm>
            <a:off x="4250413" y="2037299"/>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3" name="矩形: 对角圆角 72"/>
          <p:cNvSpPr/>
          <p:nvPr userDrawn="1"/>
        </p:nvSpPr>
        <p:spPr>
          <a:xfrm>
            <a:off x="3447342" y="319784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4" name="文本占位符 6"/>
          <p:cNvSpPr>
            <a:spLocks noGrp="1"/>
          </p:cNvSpPr>
          <p:nvPr>
            <p:ph type="body" sz="quarter" idx="13"/>
          </p:nvPr>
        </p:nvSpPr>
        <p:spPr>
          <a:xfrm>
            <a:off x="4250413" y="2805414"/>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5" name="文本占位符 6"/>
          <p:cNvSpPr>
            <a:spLocks noGrp="1"/>
          </p:cNvSpPr>
          <p:nvPr>
            <p:ph type="body" sz="quarter" idx="14"/>
          </p:nvPr>
        </p:nvSpPr>
        <p:spPr>
          <a:xfrm>
            <a:off x="4250413" y="3169096"/>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6" name="文本占位符 6"/>
          <p:cNvSpPr>
            <a:spLocks noGrp="1"/>
          </p:cNvSpPr>
          <p:nvPr>
            <p:ph type="body" sz="quarter" idx="15" hasCustomPrompt="1"/>
          </p:nvPr>
        </p:nvSpPr>
        <p:spPr>
          <a:xfrm>
            <a:off x="3375570" y="2678168"/>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77" name="直接连接符 76"/>
          <p:cNvCxnSpPr/>
          <p:nvPr userDrawn="1"/>
        </p:nvCxnSpPr>
        <p:spPr>
          <a:xfrm>
            <a:off x="4250413" y="3379962"/>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8" name="矩形: 对角圆角 77"/>
          <p:cNvSpPr/>
          <p:nvPr userDrawn="1"/>
        </p:nvSpPr>
        <p:spPr>
          <a:xfrm>
            <a:off x="8094653" y="1855181"/>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9" name="文本占位符 6"/>
          <p:cNvSpPr>
            <a:spLocks noGrp="1"/>
          </p:cNvSpPr>
          <p:nvPr>
            <p:ph type="body" sz="quarter" idx="19"/>
          </p:nvPr>
        </p:nvSpPr>
        <p:spPr>
          <a:xfrm>
            <a:off x="8897724" y="1462751"/>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0" name="文本占位符 6"/>
          <p:cNvSpPr>
            <a:spLocks noGrp="1"/>
          </p:cNvSpPr>
          <p:nvPr>
            <p:ph type="body" sz="quarter" idx="20"/>
          </p:nvPr>
        </p:nvSpPr>
        <p:spPr>
          <a:xfrm>
            <a:off x="8897724" y="1826433"/>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1" name="文本占位符 6"/>
          <p:cNvSpPr>
            <a:spLocks noGrp="1"/>
          </p:cNvSpPr>
          <p:nvPr>
            <p:ph type="body" sz="quarter" idx="21" hasCustomPrompt="1"/>
          </p:nvPr>
        </p:nvSpPr>
        <p:spPr>
          <a:xfrm>
            <a:off x="8014065" y="1335505"/>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82" name="直接连接符 81"/>
          <p:cNvCxnSpPr/>
          <p:nvPr userDrawn="1"/>
        </p:nvCxnSpPr>
        <p:spPr>
          <a:xfrm>
            <a:off x="8897724" y="2037299"/>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3" name="矩形: 对角圆角 82"/>
          <p:cNvSpPr/>
          <p:nvPr userDrawn="1"/>
        </p:nvSpPr>
        <p:spPr>
          <a:xfrm>
            <a:off x="8094653" y="319784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4" name="文本占位符 6"/>
          <p:cNvSpPr>
            <a:spLocks noGrp="1"/>
          </p:cNvSpPr>
          <p:nvPr>
            <p:ph type="body" sz="quarter" idx="22"/>
          </p:nvPr>
        </p:nvSpPr>
        <p:spPr>
          <a:xfrm>
            <a:off x="8897724" y="2805414"/>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5" name="文本占位符 6"/>
          <p:cNvSpPr>
            <a:spLocks noGrp="1"/>
          </p:cNvSpPr>
          <p:nvPr>
            <p:ph type="body" sz="quarter" idx="23"/>
          </p:nvPr>
        </p:nvSpPr>
        <p:spPr>
          <a:xfrm>
            <a:off x="8897724" y="3169096"/>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6" name="文本占位符 6"/>
          <p:cNvSpPr>
            <a:spLocks noGrp="1"/>
          </p:cNvSpPr>
          <p:nvPr>
            <p:ph type="body" sz="quarter" idx="24" hasCustomPrompt="1"/>
          </p:nvPr>
        </p:nvSpPr>
        <p:spPr>
          <a:xfrm>
            <a:off x="8023683" y="2678168"/>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87" name="直接连接符 86"/>
          <p:cNvCxnSpPr/>
          <p:nvPr userDrawn="1"/>
        </p:nvCxnSpPr>
        <p:spPr>
          <a:xfrm>
            <a:off x="8897724" y="3379962"/>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目录4-1">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7" name="矩形 6"/>
          <p:cNvSpPr/>
          <p:nvPr userDrawn="1"/>
        </p:nvSpPr>
        <p:spPr>
          <a:xfrm>
            <a:off x="-381"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p:cNvPicPr>
            <a:picLocks noChangeAspect="1"/>
          </p:cNvPicPr>
          <p:nvPr userDrawn="1"/>
        </p:nvPicPr>
        <p:blipFill rotWithShape="1">
          <a:blip r:embed="rId3" cstate="email">
            <a:clrChange>
              <a:clrFrom>
                <a:srgbClr val="FEFEFE"/>
              </a:clrFrom>
              <a:clrTo>
                <a:srgbClr val="FEFEFE">
                  <a:alpha val="0"/>
                </a:srgbClr>
              </a:clrTo>
            </a:clrChange>
            <a:extLst>
              <a:ext uri="{BEBA8EAE-BF5A-486C-A8C5-ECC9F3942E4B}">
                <a14:imgProps xmlns:a14="http://schemas.microsoft.com/office/drawing/2010/main">
                  <a14:imgLayer r:embed="rId4">
                    <a14:imgEffect>
                      <a14:brightnessContrast bright="10000"/>
                    </a14:imgEffect>
                  </a14:imgLayer>
                </a14:imgProps>
              </a:ext>
            </a:extLst>
          </a:blip>
          <a:srcRect/>
          <a:stretch>
            <a:fillRect/>
          </a:stretch>
        </p:blipFill>
        <p:spPr>
          <a:xfrm>
            <a:off x="0" y="1781908"/>
            <a:ext cx="12192000" cy="5076092"/>
          </a:xfrm>
          <a:prstGeom prst="rect">
            <a:avLst/>
          </a:prstGeom>
        </p:spPr>
      </p:pic>
      <p:sp>
        <p:nvSpPr>
          <p:cNvPr id="49" name="矩形 48"/>
          <p:cNvSpPr/>
          <p:nvPr userDrawn="1"/>
        </p:nvSpPr>
        <p:spPr>
          <a:xfrm rot="5400000">
            <a:off x="8720555" y="3386560"/>
            <a:ext cx="6858002" cy="84880"/>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组合 100"/>
          <p:cNvGrpSpPr/>
          <p:nvPr userDrawn="1"/>
        </p:nvGrpSpPr>
        <p:grpSpPr>
          <a:xfrm>
            <a:off x="8431598" y="0"/>
            <a:ext cx="3760402" cy="4528788"/>
            <a:chOff x="8431598" y="0"/>
            <a:chExt cx="3760402" cy="4528788"/>
          </a:xfrm>
        </p:grpSpPr>
        <p:sp>
          <p:nvSpPr>
            <p:cNvPr id="102" name="任意多边形: 形状 101"/>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03" name="任意多边形: 形状 102"/>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4" name="任意多边形: 形状 103"/>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sp>
        <p:nvSpPr>
          <p:cNvPr id="99" name="标题 1"/>
          <p:cNvSpPr>
            <a:spLocks noGrp="1"/>
          </p:cNvSpPr>
          <p:nvPr>
            <p:ph type="ctrTitle" hasCustomPrompt="1"/>
          </p:nvPr>
        </p:nvSpPr>
        <p:spPr>
          <a:xfrm>
            <a:off x="10802463" y="1041337"/>
            <a:ext cx="910112" cy="2499361"/>
          </a:xfrm>
        </p:spPr>
        <p:txBody>
          <a:bodyPr lIns="0" tIns="0" rIns="0" bIns="0" anchor="ctr">
            <a:noAutofit/>
          </a:bodyPr>
          <a:lstStyle>
            <a:lvl1pPr marL="0" algn="ctr" defTabSz="457200" rtl="0" eaLnBrk="1" latinLnBrk="0" hangingPunct="1">
              <a:lnSpc>
                <a:spcPct val="100000"/>
              </a:lnSpc>
              <a:defRPr lang="en-US" sz="7200" b="1" kern="1200" spc="600" dirty="0">
                <a:gradFill flip="none" rotWithShape="1">
                  <a:gsLst>
                    <a:gs pos="100000">
                      <a:schemeClr val="accent1">
                        <a:lumMod val="75000"/>
                      </a:schemeClr>
                    </a:gs>
                    <a:gs pos="0">
                      <a:schemeClr val="accent1"/>
                    </a:gs>
                  </a:gsLst>
                  <a:lin ang="5400000" scaled="1"/>
                  <a:tileRect/>
                </a:gradFill>
                <a:latin typeface="+mn-lt"/>
                <a:ea typeface="+mn-ea"/>
                <a:cs typeface="+mn-cs"/>
              </a:defRPr>
            </a:lvl1pPr>
          </a:lstStyle>
          <a:p>
            <a:r>
              <a:rPr lang="zh-CN" altLang="en-US" dirty="0"/>
              <a:t>目录</a:t>
            </a:r>
            <a:endParaRPr lang="en-US" dirty="0"/>
          </a:p>
        </p:txBody>
      </p:sp>
      <p:cxnSp>
        <p:nvCxnSpPr>
          <p:cNvPr id="39" name="直接连接符 38"/>
          <p:cNvCxnSpPr/>
          <p:nvPr/>
        </p:nvCxnSpPr>
        <p:spPr>
          <a:xfrm>
            <a:off x="10787169" y="1093521"/>
            <a:ext cx="940700" cy="0"/>
          </a:xfrm>
          <a:prstGeom prst="line">
            <a:avLst/>
          </a:prstGeom>
          <a:ln w="63500" cmpd="thickThi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10787169" y="3570021"/>
            <a:ext cx="940700" cy="0"/>
          </a:xfrm>
          <a:prstGeom prst="line">
            <a:avLst/>
          </a:prstGeom>
          <a:ln w="63500" cmpd="thinThick">
            <a:solidFill>
              <a:schemeClr val="accent2"/>
            </a:solidFill>
          </a:ln>
        </p:spPr>
        <p:style>
          <a:lnRef idx="1">
            <a:schemeClr val="accent1"/>
          </a:lnRef>
          <a:fillRef idx="0">
            <a:schemeClr val="accent1"/>
          </a:fillRef>
          <a:effectRef idx="0">
            <a:schemeClr val="accent1"/>
          </a:effectRef>
          <a:fontRef idx="minor">
            <a:schemeClr val="tx1"/>
          </a:fontRef>
        </p:style>
      </p:cxnSp>
      <p:sp>
        <p:nvSpPr>
          <p:cNvPr id="98" name="矩形 97"/>
          <p:cNvSpPr/>
          <p:nvPr userDrawn="1"/>
        </p:nvSpPr>
        <p:spPr>
          <a:xfrm rot="5400000">
            <a:off x="10885215" y="2263239"/>
            <a:ext cx="2528684" cy="84880"/>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2" name="组合 151"/>
          <p:cNvGrpSpPr/>
          <p:nvPr userDrawn="1"/>
        </p:nvGrpSpPr>
        <p:grpSpPr>
          <a:xfrm>
            <a:off x="10477913" y="446123"/>
            <a:ext cx="1234662" cy="419641"/>
            <a:chOff x="1398368" y="5051425"/>
            <a:chExt cx="3242941" cy="1102222"/>
          </a:xfrm>
        </p:grpSpPr>
        <p:sp>
          <p:nvSpPr>
            <p:cNvPr id="153"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56" name="组合 155"/>
            <p:cNvGrpSpPr/>
            <p:nvPr/>
          </p:nvGrpSpPr>
          <p:grpSpPr>
            <a:xfrm>
              <a:off x="2921957" y="5168150"/>
              <a:ext cx="542765" cy="642593"/>
              <a:chOff x="3102298" y="5183391"/>
              <a:chExt cx="501880" cy="594188"/>
            </a:xfrm>
          </p:grpSpPr>
          <p:sp>
            <p:nvSpPr>
              <p:cNvPr id="197"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57" name="组合 156"/>
            <p:cNvGrpSpPr/>
            <p:nvPr/>
          </p:nvGrpSpPr>
          <p:grpSpPr>
            <a:xfrm>
              <a:off x="4196892" y="5154476"/>
              <a:ext cx="444417" cy="649987"/>
              <a:chOff x="4257853" y="5169716"/>
              <a:chExt cx="410940" cy="601025"/>
            </a:xfrm>
          </p:grpSpPr>
          <p:sp>
            <p:nvSpPr>
              <p:cNvPr id="192"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58"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1"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6"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62" name="直接连接符 61"/>
          <p:cNvCxnSpPr/>
          <p:nvPr userDrawn="1"/>
        </p:nvCxnSpPr>
        <p:spPr>
          <a:xfrm flipV="1">
            <a:off x="890400" y="2303362"/>
            <a:ext cx="0" cy="3345084"/>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flipV="1">
            <a:off x="1724911" y="3726181"/>
            <a:ext cx="1" cy="1922266"/>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4" name="直接连接符 63"/>
          <p:cNvCxnSpPr/>
          <p:nvPr userDrawn="1"/>
        </p:nvCxnSpPr>
        <p:spPr>
          <a:xfrm flipV="1">
            <a:off x="5537506" y="2370045"/>
            <a:ext cx="409" cy="2989034"/>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5" name="直接连接符 64"/>
          <p:cNvCxnSpPr/>
          <p:nvPr userDrawn="1"/>
        </p:nvCxnSpPr>
        <p:spPr>
          <a:xfrm flipV="1">
            <a:off x="6372222" y="3738623"/>
            <a:ext cx="0" cy="1620456"/>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sp>
        <p:nvSpPr>
          <p:cNvPr id="66" name="矩形: 对角圆角 65"/>
          <p:cNvSpPr/>
          <p:nvPr userDrawn="1"/>
        </p:nvSpPr>
        <p:spPr>
          <a:xfrm>
            <a:off x="550039" y="196607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7" name="文本占位符 6"/>
          <p:cNvSpPr>
            <a:spLocks noGrp="1"/>
          </p:cNvSpPr>
          <p:nvPr>
            <p:ph type="body" sz="quarter" idx="10"/>
          </p:nvPr>
        </p:nvSpPr>
        <p:spPr>
          <a:xfrm>
            <a:off x="1353110" y="1573647"/>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8" name="文本占位符 6"/>
          <p:cNvSpPr>
            <a:spLocks noGrp="1"/>
          </p:cNvSpPr>
          <p:nvPr>
            <p:ph type="body" sz="quarter" idx="11"/>
          </p:nvPr>
        </p:nvSpPr>
        <p:spPr>
          <a:xfrm>
            <a:off x="1353110" y="1937329"/>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9" name="文本占位符 6"/>
          <p:cNvSpPr>
            <a:spLocks noGrp="1"/>
          </p:cNvSpPr>
          <p:nvPr>
            <p:ph type="body" sz="quarter" idx="12" hasCustomPrompt="1"/>
          </p:nvPr>
        </p:nvSpPr>
        <p:spPr>
          <a:xfrm>
            <a:off x="515938" y="1446401"/>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70" name="直接连接符 69"/>
          <p:cNvCxnSpPr/>
          <p:nvPr userDrawn="1"/>
        </p:nvCxnSpPr>
        <p:spPr>
          <a:xfrm>
            <a:off x="1353110" y="2148195"/>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1" name="矩形: 对角圆角 70"/>
          <p:cNvSpPr/>
          <p:nvPr userDrawn="1"/>
        </p:nvSpPr>
        <p:spPr>
          <a:xfrm>
            <a:off x="1384551" y="339088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2" name="文本占位符 6"/>
          <p:cNvSpPr>
            <a:spLocks noGrp="1"/>
          </p:cNvSpPr>
          <p:nvPr>
            <p:ph type="body" sz="quarter" idx="13"/>
          </p:nvPr>
        </p:nvSpPr>
        <p:spPr>
          <a:xfrm>
            <a:off x="2187622" y="2998454"/>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3" name="文本占位符 6"/>
          <p:cNvSpPr>
            <a:spLocks noGrp="1"/>
          </p:cNvSpPr>
          <p:nvPr>
            <p:ph type="body" sz="quarter" idx="14"/>
          </p:nvPr>
        </p:nvSpPr>
        <p:spPr>
          <a:xfrm>
            <a:off x="2187622" y="3362136"/>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4" name="文本占位符 6"/>
          <p:cNvSpPr>
            <a:spLocks noGrp="1"/>
          </p:cNvSpPr>
          <p:nvPr>
            <p:ph type="body" sz="quarter" idx="15" hasCustomPrompt="1"/>
          </p:nvPr>
        </p:nvSpPr>
        <p:spPr>
          <a:xfrm>
            <a:off x="1312779" y="2871208"/>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75" name="直接连接符 74"/>
          <p:cNvCxnSpPr/>
          <p:nvPr userDrawn="1"/>
        </p:nvCxnSpPr>
        <p:spPr>
          <a:xfrm>
            <a:off x="2187622" y="3573002"/>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6" name="矩形: 对角圆角 75"/>
          <p:cNvSpPr/>
          <p:nvPr userDrawn="1"/>
        </p:nvSpPr>
        <p:spPr>
          <a:xfrm>
            <a:off x="5197350" y="196607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7" name="文本占位符 6"/>
          <p:cNvSpPr>
            <a:spLocks noGrp="1"/>
          </p:cNvSpPr>
          <p:nvPr>
            <p:ph type="body" sz="quarter" idx="19"/>
          </p:nvPr>
        </p:nvSpPr>
        <p:spPr>
          <a:xfrm>
            <a:off x="6000421" y="1573647"/>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8" name="文本占位符 6"/>
          <p:cNvSpPr>
            <a:spLocks noGrp="1"/>
          </p:cNvSpPr>
          <p:nvPr>
            <p:ph type="body" sz="quarter" idx="20"/>
          </p:nvPr>
        </p:nvSpPr>
        <p:spPr>
          <a:xfrm>
            <a:off x="6000421" y="1937329"/>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9" name="文本占位符 6"/>
          <p:cNvSpPr>
            <a:spLocks noGrp="1"/>
          </p:cNvSpPr>
          <p:nvPr>
            <p:ph type="body" sz="quarter" idx="21" hasCustomPrompt="1"/>
          </p:nvPr>
        </p:nvSpPr>
        <p:spPr>
          <a:xfrm>
            <a:off x="5116762" y="1446401"/>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80" name="直接连接符 79"/>
          <p:cNvCxnSpPr/>
          <p:nvPr userDrawn="1"/>
        </p:nvCxnSpPr>
        <p:spPr>
          <a:xfrm>
            <a:off x="6000421" y="2148195"/>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1" name="矩形: 对角圆角 80"/>
          <p:cNvSpPr/>
          <p:nvPr userDrawn="1"/>
        </p:nvSpPr>
        <p:spPr>
          <a:xfrm>
            <a:off x="6031862" y="339088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2" name="文本占位符 6"/>
          <p:cNvSpPr>
            <a:spLocks noGrp="1"/>
          </p:cNvSpPr>
          <p:nvPr>
            <p:ph type="body" sz="quarter" idx="22"/>
          </p:nvPr>
        </p:nvSpPr>
        <p:spPr>
          <a:xfrm>
            <a:off x="6834933" y="2998454"/>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3" name="文本占位符 6"/>
          <p:cNvSpPr>
            <a:spLocks noGrp="1"/>
          </p:cNvSpPr>
          <p:nvPr>
            <p:ph type="body" sz="quarter" idx="23"/>
          </p:nvPr>
        </p:nvSpPr>
        <p:spPr>
          <a:xfrm>
            <a:off x="6834933" y="3362136"/>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4" name="文本占位符 6"/>
          <p:cNvSpPr>
            <a:spLocks noGrp="1"/>
          </p:cNvSpPr>
          <p:nvPr>
            <p:ph type="body" sz="quarter" idx="24" hasCustomPrompt="1"/>
          </p:nvPr>
        </p:nvSpPr>
        <p:spPr>
          <a:xfrm>
            <a:off x="5960892" y="2871208"/>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85" name="直接连接符 84"/>
          <p:cNvCxnSpPr/>
          <p:nvPr userDrawn="1"/>
        </p:nvCxnSpPr>
        <p:spPr>
          <a:xfrm>
            <a:off x="6834933" y="3573002"/>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目录5-1">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2" cstate="email">
            <a:duotone>
              <a:schemeClr val="accent1">
                <a:shade val="45000"/>
                <a:satMod val="135000"/>
              </a:schemeClr>
              <a:prstClr val="white"/>
            </a:duotone>
          </a:blip>
          <a:srcRect/>
          <a:stretch>
            <a:fillRect/>
          </a:stretch>
        </p:blipFill>
        <p:spPr>
          <a:xfrm>
            <a:off x="0" y="0"/>
            <a:ext cx="12192000" cy="6858000"/>
          </a:xfrm>
          <a:prstGeom prst="rect">
            <a:avLst/>
          </a:prstGeom>
        </p:spPr>
      </p:pic>
      <p:sp>
        <p:nvSpPr>
          <p:cNvPr id="7" name="矩形 6"/>
          <p:cNvSpPr/>
          <p:nvPr userDrawn="1"/>
        </p:nvSpPr>
        <p:spPr>
          <a:xfrm>
            <a:off x="0" y="0"/>
            <a:ext cx="12192000" cy="6858000"/>
          </a:xfrm>
          <a:prstGeom prst="rect">
            <a:avLst/>
          </a:prstGeom>
          <a:gradFill flip="none" rotWithShape="1">
            <a:gsLst>
              <a:gs pos="0">
                <a:schemeClr val="bg1">
                  <a:alpha val="0"/>
                </a:schemeClr>
              </a:gs>
              <a:gs pos="58000">
                <a:schemeClr val="bg1">
                  <a:alpha val="45000"/>
                </a:schemeClr>
              </a:gs>
              <a:gs pos="80000">
                <a:schemeClr val="bg1">
                  <a:alpha val="82000"/>
                </a:schemeClr>
              </a:gs>
            </a:gsLst>
            <a:path path="circle">
              <a:fillToRect l="50000" t="50000" r="50000" b="50000"/>
            </a:path>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任意多边形: 形状 117"/>
          <p:cNvSpPr/>
          <p:nvPr userDrawn="1"/>
        </p:nvSpPr>
        <p:spPr>
          <a:xfrm>
            <a:off x="4119624" y="3588636"/>
            <a:ext cx="3728976" cy="3269364"/>
          </a:xfrm>
          <a:custGeom>
            <a:avLst/>
            <a:gdLst>
              <a:gd name="connsiteX0" fmla="*/ 1864488 w 3728976"/>
              <a:gd name="connsiteY0" fmla="*/ 0 h 3269364"/>
              <a:gd name="connsiteX1" fmla="*/ 3728976 w 3728976"/>
              <a:gd name="connsiteY1" fmla="*/ 1864487 h 3269364"/>
              <a:gd name="connsiteX2" fmla="*/ 3182880 w 3728976"/>
              <a:gd name="connsiteY2" fmla="*/ 3182879 h 3269364"/>
              <a:gd name="connsiteX3" fmla="*/ 3087722 w 3728976"/>
              <a:gd name="connsiteY3" fmla="*/ 3269364 h 3269364"/>
              <a:gd name="connsiteX4" fmla="*/ 2866319 w 3728976"/>
              <a:gd name="connsiteY4" fmla="*/ 3269364 h 3269364"/>
              <a:gd name="connsiteX5" fmla="*/ 2962984 w 3728976"/>
              <a:gd name="connsiteY5" fmla="*/ 3197080 h 3269364"/>
              <a:gd name="connsiteX6" fmla="*/ 3591431 w 3728976"/>
              <a:gd name="connsiteY6" fmla="*/ 1864487 h 3269364"/>
              <a:gd name="connsiteX7" fmla="*/ 1864488 w 3728976"/>
              <a:gd name="connsiteY7" fmla="*/ 137545 h 3269364"/>
              <a:gd name="connsiteX8" fmla="*/ 137545 w 3728976"/>
              <a:gd name="connsiteY8" fmla="*/ 1864487 h 3269364"/>
              <a:gd name="connsiteX9" fmla="*/ 765992 w 3728976"/>
              <a:gd name="connsiteY9" fmla="*/ 3197080 h 3269364"/>
              <a:gd name="connsiteX10" fmla="*/ 862657 w 3728976"/>
              <a:gd name="connsiteY10" fmla="*/ 3269364 h 3269364"/>
              <a:gd name="connsiteX11" fmla="*/ 641255 w 3728976"/>
              <a:gd name="connsiteY11" fmla="*/ 3269364 h 3269364"/>
              <a:gd name="connsiteX12" fmla="*/ 546097 w 3728976"/>
              <a:gd name="connsiteY12" fmla="*/ 3182879 h 3269364"/>
              <a:gd name="connsiteX13" fmla="*/ 0 w 3728976"/>
              <a:gd name="connsiteY13" fmla="*/ 1864487 h 3269364"/>
              <a:gd name="connsiteX14" fmla="*/ 1864488 w 3728976"/>
              <a:gd name="connsiteY14" fmla="*/ 0 h 326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28976" h="3269364">
                <a:moveTo>
                  <a:pt x="1864488" y="0"/>
                </a:moveTo>
                <a:cubicBezTo>
                  <a:pt x="2894216" y="0"/>
                  <a:pt x="3728976" y="834759"/>
                  <a:pt x="3728976" y="1864487"/>
                </a:cubicBezTo>
                <a:cubicBezTo>
                  <a:pt x="3728976" y="2379351"/>
                  <a:pt x="3520286" y="2845473"/>
                  <a:pt x="3182880" y="3182879"/>
                </a:cubicBezTo>
                <a:lnTo>
                  <a:pt x="3087722" y="3269364"/>
                </a:lnTo>
                <a:lnTo>
                  <a:pt x="2866319" y="3269364"/>
                </a:lnTo>
                <a:lnTo>
                  <a:pt x="2962984" y="3197080"/>
                </a:lnTo>
                <a:cubicBezTo>
                  <a:pt x="3346793" y="2880333"/>
                  <a:pt x="3591431" y="2400980"/>
                  <a:pt x="3591431" y="1864487"/>
                </a:cubicBezTo>
                <a:cubicBezTo>
                  <a:pt x="3591431" y="910723"/>
                  <a:pt x="2818252" y="137545"/>
                  <a:pt x="1864488" y="137545"/>
                </a:cubicBezTo>
                <a:cubicBezTo>
                  <a:pt x="910724" y="137545"/>
                  <a:pt x="137545" y="910723"/>
                  <a:pt x="137545" y="1864487"/>
                </a:cubicBezTo>
                <a:cubicBezTo>
                  <a:pt x="137545" y="2400980"/>
                  <a:pt x="382184" y="2880333"/>
                  <a:pt x="765992" y="3197080"/>
                </a:cubicBezTo>
                <a:lnTo>
                  <a:pt x="862657" y="3269364"/>
                </a:lnTo>
                <a:lnTo>
                  <a:pt x="641255" y="3269364"/>
                </a:lnTo>
                <a:lnTo>
                  <a:pt x="546097" y="3182879"/>
                </a:lnTo>
                <a:cubicBezTo>
                  <a:pt x="208690" y="2845473"/>
                  <a:pt x="0" y="2379351"/>
                  <a:pt x="0" y="1864487"/>
                </a:cubicBezTo>
                <a:cubicBezTo>
                  <a:pt x="0" y="834759"/>
                  <a:pt x="834760" y="0"/>
                  <a:pt x="1864488" y="0"/>
                </a:cubicBezTo>
                <a:close/>
              </a:path>
            </a:pathLst>
          </a:cu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20" name="任意多边形: 形状 119"/>
          <p:cNvSpPr/>
          <p:nvPr userDrawn="1"/>
        </p:nvSpPr>
        <p:spPr>
          <a:xfrm>
            <a:off x="4257169" y="3726182"/>
            <a:ext cx="3453886" cy="3131819"/>
          </a:xfrm>
          <a:custGeom>
            <a:avLst/>
            <a:gdLst>
              <a:gd name="connsiteX0" fmla="*/ 1726943 w 3453886"/>
              <a:gd name="connsiteY0" fmla="*/ 0 h 3131819"/>
              <a:gd name="connsiteX1" fmla="*/ 3453886 w 3453886"/>
              <a:gd name="connsiteY1" fmla="*/ 1726942 h 3131819"/>
              <a:gd name="connsiteX2" fmla="*/ 2825439 w 3453886"/>
              <a:gd name="connsiteY2" fmla="*/ 3059535 h 3131819"/>
              <a:gd name="connsiteX3" fmla="*/ 2728775 w 3453886"/>
              <a:gd name="connsiteY3" fmla="*/ 3131819 h 3131819"/>
              <a:gd name="connsiteX4" fmla="*/ 725112 w 3453886"/>
              <a:gd name="connsiteY4" fmla="*/ 3131819 h 3131819"/>
              <a:gd name="connsiteX5" fmla="*/ 628447 w 3453886"/>
              <a:gd name="connsiteY5" fmla="*/ 3059535 h 3131819"/>
              <a:gd name="connsiteX6" fmla="*/ 0 w 3453886"/>
              <a:gd name="connsiteY6" fmla="*/ 1726942 h 3131819"/>
              <a:gd name="connsiteX7" fmla="*/ 1726943 w 3453886"/>
              <a:gd name="connsiteY7" fmla="*/ 0 h 313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3886" h="3131819">
                <a:moveTo>
                  <a:pt x="1726943" y="0"/>
                </a:moveTo>
                <a:cubicBezTo>
                  <a:pt x="2680707" y="0"/>
                  <a:pt x="3453886" y="773178"/>
                  <a:pt x="3453886" y="1726942"/>
                </a:cubicBezTo>
                <a:cubicBezTo>
                  <a:pt x="3453886" y="2263435"/>
                  <a:pt x="3209248" y="2742788"/>
                  <a:pt x="2825439" y="3059535"/>
                </a:cubicBezTo>
                <a:lnTo>
                  <a:pt x="2728775" y="3131819"/>
                </a:lnTo>
                <a:lnTo>
                  <a:pt x="725112" y="3131819"/>
                </a:lnTo>
                <a:lnTo>
                  <a:pt x="628447" y="3059535"/>
                </a:lnTo>
                <a:cubicBezTo>
                  <a:pt x="244639" y="2742788"/>
                  <a:pt x="0" y="2263435"/>
                  <a:pt x="0" y="1726942"/>
                </a:cubicBezTo>
                <a:cubicBezTo>
                  <a:pt x="0" y="773178"/>
                  <a:pt x="773179" y="0"/>
                  <a:pt x="1726943" y="0"/>
                </a:cubicBezTo>
                <a:close/>
              </a:path>
            </a:pathLst>
          </a:cu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cxnSp>
        <p:nvCxnSpPr>
          <p:cNvPr id="55" name="直接连接符 54"/>
          <p:cNvCxnSpPr/>
          <p:nvPr userDrawn="1"/>
        </p:nvCxnSpPr>
        <p:spPr>
          <a:xfrm>
            <a:off x="4899439" y="5634424"/>
            <a:ext cx="2166842" cy="0"/>
          </a:xfrm>
          <a:prstGeom prst="line">
            <a:avLst/>
          </a:prstGeom>
          <a:ln w="28575">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文本框 55"/>
          <p:cNvSpPr txBox="1"/>
          <p:nvPr userDrawn="1"/>
        </p:nvSpPr>
        <p:spPr>
          <a:xfrm>
            <a:off x="4899439" y="5774684"/>
            <a:ext cx="2166842" cy="425456"/>
          </a:xfrm>
          <a:prstGeom prst="rect">
            <a:avLst/>
          </a:prstGeom>
          <a:noFill/>
        </p:spPr>
        <p:txBody>
          <a:bodyPr wrap="square" lIns="0" rIns="0" rtlCol="0" anchor="ctr">
            <a:noAutofit/>
          </a:bodyPr>
          <a:lstStyle/>
          <a:p>
            <a:pPr algn="dist"/>
            <a:r>
              <a:rPr lang="en-US" altLang="zh-CN" sz="2000" dirty="0">
                <a:solidFill>
                  <a:schemeClr val="bg1">
                    <a:alpha val="70000"/>
                  </a:schemeClr>
                </a:solidFill>
                <a:effectLst>
                  <a:outerShdw blurRad="38100" dist="38100" dir="2700000" algn="tl">
                    <a:srgbClr val="000000">
                      <a:alpha val="43137"/>
                    </a:srgbClr>
                  </a:outerShdw>
                </a:effectLst>
                <a:latin typeface="Impact" panose="020B0806030902050204" pitchFamily="34" charset="0"/>
              </a:rPr>
              <a:t>CON</a:t>
            </a:r>
            <a:r>
              <a:rPr lang="en-US" altLang="zh-CN" sz="2000" dirty="0">
                <a:solidFill>
                  <a:schemeClr val="bg1">
                    <a:alpha val="70000"/>
                  </a:schemeClr>
                </a:solidFill>
                <a:latin typeface="Impact" panose="020B0806030902050204" pitchFamily="34" charset="0"/>
              </a:rPr>
              <a:t>TENTS</a:t>
            </a:r>
          </a:p>
        </p:txBody>
      </p:sp>
      <p:cxnSp>
        <p:nvCxnSpPr>
          <p:cNvPr id="57" name="直接连接符 56"/>
          <p:cNvCxnSpPr/>
          <p:nvPr userDrawn="1"/>
        </p:nvCxnSpPr>
        <p:spPr>
          <a:xfrm>
            <a:off x="4899439" y="5705544"/>
            <a:ext cx="2166842" cy="0"/>
          </a:xfrm>
          <a:prstGeom prst="line">
            <a:avLst/>
          </a:prstGeom>
          <a:ln w="63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4" name="标题 1"/>
          <p:cNvSpPr>
            <a:spLocks noGrp="1"/>
          </p:cNvSpPr>
          <p:nvPr userDrawn="1">
            <p:ph type="ctrTitle" hasCustomPrompt="1"/>
          </p:nvPr>
        </p:nvSpPr>
        <p:spPr>
          <a:xfrm>
            <a:off x="4966750" y="4613761"/>
            <a:ext cx="2032220" cy="923330"/>
          </a:xfrm>
        </p:spPr>
        <p:txBody>
          <a:bodyPr lIns="0" tIns="0" rIns="0" bIns="0" anchor="ctr">
            <a:noAutofit/>
          </a:bodyPr>
          <a:lstStyle>
            <a:lvl1pPr marL="0" algn="dist" defTabSz="457200" rtl="0" eaLnBrk="1" latinLnBrk="0" hangingPunct="1">
              <a:lnSpc>
                <a:spcPct val="100000"/>
              </a:lnSpc>
              <a:defRPr lang="en-US" sz="60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r>
              <a:rPr lang="zh-CN" altLang="en-US" dirty="0"/>
              <a:t>目录</a:t>
            </a:r>
            <a:endParaRPr lang="en-US" dirty="0"/>
          </a:p>
        </p:txBody>
      </p:sp>
      <p:sp>
        <p:nvSpPr>
          <p:cNvPr id="60" name="文本框 59"/>
          <p:cNvSpPr txBox="1"/>
          <p:nvPr/>
        </p:nvSpPr>
        <p:spPr>
          <a:xfrm>
            <a:off x="4899439" y="4532109"/>
            <a:ext cx="2166842" cy="923330"/>
          </a:xfrm>
          <a:prstGeom prst="rect">
            <a:avLst/>
          </a:prstGeom>
          <a:noFill/>
        </p:spPr>
        <p:txBody>
          <a:bodyPr wrap="square" lIns="0" rIns="0" rtlCol="0" anchor="ctr">
            <a:noAutofit/>
          </a:bodyPr>
          <a:lstStyle/>
          <a:p>
            <a:pPr algn="dist"/>
            <a:r>
              <a:rPr lang="zh-CN" altLang="en-US" sz="6000" b="1" spc="600" dirty="0">
                <a:ln>
                  <a:gradFill>
                    <a:gsLst>
                      <a:gs pos="12000">
                        <a:schemeClr val="bg1"/>
                      </a:gs>
                      <a:gs pos="18000">
                        <a:schemeClr val="bg1">
                          <a:alpha val="52000"/>
                        </a:schemeClr>
                      </a:gs>
                      <a:gs pos="100000">
                        <a:schemeClr val="bg1">
                          <a:alpha val="0"/>
                        </a:schemeClr>
                      </a:gs>
                    </a:gsLst>
                    <a:lin ang="5400000" scaled="1"/>
                  </a:gradFill>
                </a:ln>
                <a:noFill/>
              </a:rPr>
              <a:t>目录</a:t>
            </a:r>
            <a:endParaRPr lang="en-US" sz="6000" b="1" spc="600" dirty="0">
              <a:ln>
                <a:gradFill>
                  <a:gsLst>
                    <a:gs pos="12000">
                      <a:schemeClr val="bg1"/>
                    </a:gs>
                    <a:gs pos="18000">
                      <a:schemeClr val="bg1">
                        <a:alpha val="52000"/>
                      </a:schemeClr>
                    </a:gs>
                    <a:gs pos="100000">
                      <a:schemeClr val="bg1">
                        <a:alpha val="0"/>
                      </a:schemeClr>
                    </a:gs>
                  </a:gsLst>
                  <a:lin ang="5400000" scaled="1"/>
                </a:gradFill>
              </a:ln>
              <a:noFill/>
            </a:endParaRPr>
          </a:p>
        </p:txBody>
      </p:sp>
      <p:sp>
        <p:nvSpPr>
          <p:cNvPr id="119" name="任意多边形: 形状 118"/>
          <p:cNvSpPr/>
          <p:nvPr userDrawn="1"/>
        </p:nvSpPr>
        <p:spPr>
          <a:xfrm>
            <a:off x="4338191" y="3807204"/>
            <a:ext cx="3291842" cy="3050797"/>
          </a:xfrm>
          <a:custGeom>
            <a:avLst/>
            <a:gdLst>
              <a:gd name="connsiteX0" fmla="*/ 1645921 w 3291842"/>
              <a:gd name="connsiteY0" fmla="*/ 0 h 3050797"/>
              <a:gd name="connsiteX1" fmla="*/ 3291842 w 3291842"/>
              <a:gd name="connsiteY1" fmla="*/ 1645920 h 3050797"/>
              <a:gd name="connsiteX2" fmla="*/ 2566171 w 3291842"/>
              <a:gd name="connsiteY2" fmla="*/ 3010743 h 3050797"/>
              <a:gd name="connsiteX3" fmla="*/ 2500240 w 3291842"/>
              <a:gd name="connsiteY3" fmla="*/ 3050797 h 3050797"/>
              <a:gd name="connsiteX4" fmla="*/ 791603 w 3291842"/>
              <a:gd name="connsiteY4" fmla="*/ 3050797 h 3050797"/>
              <a:gd name="connsiteX5" fmla="*/ 725671 w 3291842"/>
              <a:gd name="connsiteY5" fmla="*/ 3010743 h 3050797"/>
              <a:gd name="connsiteX6" fmla="*/ 0 w 3291842"/>
              <a:gd name="connsiteY6" fmla="*/ 1645920 h 3050797"/>
              <a:gd name="connsiteX7" fmla="*/ 1645921 w 3291842"/>
              <a:gd name="connsiteY7" fmla="*/ 0 h 3050797"/>
              <a:gd name="connsiteX0-1" fmla="*/ 1645921 w 3291842"/>
              <a:gd name="connsiteY0-2" fmla="*/ 0 h 3553716"/>
              <a:gd name="connsiteX1-3" fmla="*/ 3291842 w 3291842"/>
              <a:gd name="connsiteY1-4" fmla="*/ 1645920 h 3553716"/>
              <a:gd name="connsiteX2-5" fmla="*/ 2566171 w 3291842"/>
              <a:gd name="connsiteY2-6" fmla="*/ 3010743 h 3553716"/>
              <a:gd name="connsiteX3-7" fmla="*/ 2500240 w 3291842"/>
              <a:gd name="connsiteY3-8" fmla="*/ 3050797 h 3553716"/>
              <a:gd name="connsiteX4-9" fmla="*/ 1483489 w 3291842"/>
              <a:gd name="connsiteY4-10" fmla="*/ 3553716 h 3553716"/>
              <a:gd name="connsiteX5-11" fmla="*/ 791603 w 3291842"/>
              <a:gd name="connsiteY5-12" fmla="*/ 3050797 h 3553716"/>
              <a:gd name="connsiteX6-13" fmla="*/ 725671 w 3291842"/>
              <a:gd name="connsiteY6-14" fmla="*/ 3010743 h 3553716"/>
              <a:gd name="connsiteX7-15" fmla="*/ 0 w 3291842"/>
              <a:gd name="connsiteY7-16" fmla="*/ 1645920 h 3553716"/>
              <a:gd name="connsiteX8" fmla="*/ 1645921 w 3291842"/>
              <a:gd name="connsiteY8" fmla="*/ 0 h 3553716"/>
              <a:gd name="connsiteX0-17" fmla="*/ 1483489 w 3291842"/>
              <a:gd name="connsiteY0-18" fmla="*/ 3553716 h 3645156"/>
              <a:gd name="connsiteX1-19" fmla="*/ 791603 w 3291842"/>
              <a:gd name="connsiteY1-20" fmla="*/ 3050797 h 3645156"/>
              <a:gd name="connsiteX2-21" fmla="*/ 725671 w 3291842"/>
              <a:gd name="connsiteY2-22" fmla="*/ 3010743 h 3645156"/>
              <a:gd name="connsiteX3-23" fmla="*/ 0 w 3291842"/>
              <a:gd name="connsiteY3-24" fmla="*/ 1645920 h 3645156"/>
              <a:gd name="connsiteX4-25" fmla="*/ 1645921 w 3291842"/>
              <a:gd name="connsiteY4-26" fmla="*/ 0 h 3645156"/>
              <a:gd name="connsiteX5-27" fmla="*/ 3291842 w 3291842"/>
              <a:gd name="connsiteY5-28" fmla="*/ 1645920 h 3645156"/>
              <a:gd name="connsiteX6-29" fmla="*/ 2566171 w 3291842"/>
              <a:gd name="connsiteY6-30" fmla="*/ 3010743 h 3645156"/>
              <a:gd name="connsiteX7-31" fmla="*/ 2500240 w 3291842"/>
              <a:gd name="connsiteY7-32" fmla="*/ 3050797 h 3645156"/>
              <a:gd name="connsiteX8-33" fmla="*/ 1574929 w 3291842"/>
              <a:gd name="connsiteY8-34" fmla="*/ 3645156 h 3645156"/>
              <a:gd name="connsiteX0-35" fmla="*/ 1483489 w 3291842"/>
              <a:gd name="connsiteY0-36" fmla="*/ 3553716 h 3553716"/>
              <a:gd name="connsiteX1-37" fmla="*/ 791603 w 3291842"/>
              <a:gd name="connsiteY1-38" fmla="*/ 3050797 h 3553716"/>
              <a:gd name="connsiteX2-39" fmla="*/ 725671 w 3291842"/>
              <a:gd name="connsiteY2-40" fmla="*/ 3010743 h 3553716"/>
              <a:gd name="connsiteX3-41" fmla="*/ 0 w 3291842"/>
              <a:gd name="connsiteY3-42" fmla="*/ 1645920 h 3553716"/>
              <a:gd name="connsiteX4-43" fmla="*/ 1645921 w 3291842"/>
              <a:gd name="connsiteY4-44" fmla="*/ 0 h 3553716"/>
              <a:gd name="connsiteX5-45" fmla="*/ 3291842 w 3291842"/>
              <a:gd name="connsiteY5-46" fmla="*/ 1645920 h 3553716"/>
              <a:gd name="connsiteX6-47" fmla="*/ 2566171 w 3291842"/>
              <a:gd name="connsiteY6-48" fmla="*/ 3010743 h 3553716"/>
              <a:gd name="connsiteX7-49" fmla="*/ 2500240 w 3291842"/>
              <a:gd name="connsiteY7-50" fmla="*/ 3050797 h 3553716"/>
              <a:gd name="connsiteX0-51" fmla="*/ 791603 w 3291842"/>
              <a:gd name="connsiteY0-52" fmla="*/ 3050797 h 3050797"/>
              <a:gd name="connsiteX1-53" fmla="*/ 725671 w 3291842"/>
              <a:gd name="connsiteY1-54" fmla="*/ 3010743 h 3050797"/>
              <a:gd name="connsiteX2-55" fmla="*/ 0 w 3291842"/>
              <a:gd name="connsiteY2-56" fmla="*/ 1645920 h 3050797"/>
              <a:gd name="connsiteX3-57" fmla="*/ 1645921 w 3291842"/>
              <a:gd name="connsiteY3-58" fmla="*/ 0 h 3050797"/>
              <a:gd name="connsiteX4-59" fmla="*/ 3291842 w 3291842"/>
              <a:gd name="connsiteY4-60" fmla="*/ 1645920 h 3050797"/>
              <a:gd name="connsiteX5-61" fmla="*/ 2566171 w 3291842"/>
              <a:gd name="connsiteY5-62" fmla="*/ 3010743 h 3050797"/>
              <a:gd name="connsiteX6-63" fmla="*/ 2500240 w 3291842"/>
              <a:gd name="connsiteY6-64" fmla="*/ 3050797 h 30507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3291842" h="3050797">
                <a:moveTo>
                  <a:pt x="791603" y="3050797"/>
                </a:moveTo>
                <a:lnTo>
                  <a:pt x="725671" y="3010743"/>
                </a:lnTo>
                <a:cubicBezTo>
                  <a:pt x="287854" y="2714959"/>
                  <a:pt x="0" y="2214056"/>
                  <a:pt x="0" y="1645920"/>
                </a:cubicBezTo>
                <a:cubicBezTo>
                  <a:pt x="0" y="736903"/>
                  <a:pt x="736904" y="0"/>
                  <a:pt x="1645921" y="0"/>
                </a:cubicBezTo>
                <a:cubicBezTo>
                  <a:pt x="2554938" y="0"/>
                  <a:pt x="3291842" y="736903"/>
                  <a:pt x="3291842" y="1645920"/>
                </a:cubicBezTo>
                <a:cubicBezTo>
                  <a:pt x="3291842" y="2214056"/>
                  <a:pt x="3003989" y="2714959"/>
                  <a:pt x="2566171" y="3010743"/>
                </a:cubicBezTo>
                <a:lnTo>
                  <a:pt x="2500240" y="3050797"/>
                </a:lnTo>
              </a:path>
            </a:pathLst>
          </a:custGeom>
          <a:noFill/>
          <a:ln w="12700" cap="flat" cmpd="sng" algn="ctr">
            <a:solidFill>
              <a:schemeClr val="bg1"/>
            </a:solidFill>
            <a:prstDash val="dash"/>
            <a:miter lim="800000"/>
          </a:ln>
          <a:effectLst/>
          <a:extLst>
            <a:ext uri="{909E8E84-426E-40DD-AFC4-6F175D3DCCD1}">
              <a14:hiddenFill xmlns:a14="http://schemas.microsoft.com/office/drawing/2010/main">
                <a:gradFill flip="none" rotWithShape="1">
                  <a:gsLst>
                    <a:gs pos="0">
                      <a:schemeClr val="accent1">
                        <a:alpha val="90000"/>
                      </a:schemeClr>
                    </a:gs>
                    <a:gs pos="100000">
                      <a:schemeClr val="accent1">
                        <a:lumMod val="75000"/>
                        <a:alpha val="90000"/>
                      </a:schemeClr>
                    </a:gs>
                  </a:gsLst>
                  <a:lin ang="1620000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nvGrpSpPr>
          <p:cNvPr id="161" name="组合 160"/>
          <p:cNvGrpSpPr/>
          <p:nvPr userDrawn="1"/>
        </p:nvGrpSpPr>
        <p:grpSpPr>
          <a:xfrm>
            <a:off x="10477913" y="446123"/>
            <a:ext cx="1234662" cy="419641"/>
            <a:chOff x="1398368" y="5051425"/>
            <a:chExt cx="3242941" cy="1102222"/>
          </a:xfrm>
        </p:grpSpPr>
        <p:sp>
          <p:nvSpPr>
            <p:cNvPr id="1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5" name="组合 164"/>
            <p:cNvGrpSpPr/>
            <p:nvPr/>
          </p:nvGrpSpPr>
          <p:grpSpPr>
            <a:xfrm>
              <a:off x="2921957" y="5168150"/>
              <a:ext cx="542765" cy="642593"/>
              <a:chOff x="3102298" y="5183391"/>
              <a:chExt cx="501880" cy="594188"/>
            </a:xfrm>
          </p:grpSpPr>
          <p:sp>
            <p:nvSpPr>
              <p:cNvPr id="20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6" name="组合 165"/>
            <p:cNvGrpSpPr/>
            <p:nvPr/>
          </p:nvGrpSpPr>
          <p:grpSpPr>
            <a:xfrm>
              <a:off x="4196892" y="5154476"/>
              <a:ext cx="444417" cy="649987"/>
              <a:chOff x="4257853" y="5169716"/>
              <a:chExt cx="410940" cy="601025"/>
            </a:xfrm>
          </p:grpSpPr>
          <p:sp>
            <p:nvSpPr>
              <p:cNvPr id="20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箭头: 上 69"/>
          <p:cNvSpPr/>
          <p:nvPr userDrawn="1"/>
        </p:nvSpPr>
        <p:spPr>
          <a:xfrm rot="1265170">
            <a:off x="2107220" y="3470476"/>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1" name="矩形: 对角圆角 80"/>
          <p:cNvSpPr/>
          <p:nvPr/>
        </p:nvSpPr>
        <p:spPr>
          <a:xfrm>
            <a:off x="4087157" y="647177"/>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2" name="矩形: 对角圆角 71"/>
          <p:cNvSpPr/>
          <p:nvPr/>
        </p:nvSpPr>
        <p:spPr>
          <a:xfrm>
            <a:off x="1378004" y="2131220"/>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99" name="矩形: 对角圆角 98"/>
          <p:cNvSpPr/>
          <p:nvPr userDrawn="1"/>
        </p:nvSpPr>
        <p:spPr>
          <a:xfrm>
            <a:off x="6796310" y="2131220"/>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2" name="矩形: 对角圆角 61"/>
          <p:cNvSpPr/>
          <p:nvPr userDrawn="1"/>
        </p:nvSpPr>
        <p:spPr>
          <a:xfrm>
            <a:off x="517138" y="3989202"/>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8" name="矩形: 对角圆角 107"/>
          <p:cNvSpPr/>
          <p:nvPr userDrawn="1"/>
        </p:nvSpPr>
        <p:spPr>
          <a:xfrm>
            <a:off x="7918665" y="4008658"/>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7" name="箭头: 上 116"/>
          <p:cNvSpPr/>
          <p:nvPr userDrawn="1"/>
        </p:nvSpPr>
        <p:spPr>
          <a:xfrm rot="2525825">
            <a:off x="3392008" y="1633794"/>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1" name="箭头: 上 120"/>
          <p:cNvSpPr/>
          <p:nvPr userDrawn="1"/>
        </p:nvSpPr>
        <p:spPr>
          <a:xfrm rot="7900080">
            <a:off x="7929283" y="1633794"/>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2" name="箭头: 上 121"/>
          <p:cNvSpPr/>
          <p:nvPr userDrawn="1"/>
        </p:nvSpPr>
        <p:spPr>
          <a:xfrm rot="9634989">
            <a:off x="8971005" y="3470476"/>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3" name="矩形: 对角圆角 122"/>
          <p:cNvSpPr/>
          <p:nvPr userDrawn="1"/>
        </p:nvSpPr>
        <p:spPr>
          <a:xfrm>
            <a:off x="714636" y="464380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4" name="文本占位符 6"/>
          <p:cNvSpPr>
            <a:spLocks noGrp="1"/>
          </p:cNvSpPr>
          <p:nvPr>
            <p:ph type="body" sz="quarter" idx="10"/>
          </p:nvPr>
        </p:nvSpPr>
        <p:spPr>
          <a:xfrm>
            <a:off x="1517707" y="4251374"/>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25" name="文本占位符 6"/>
          <p:cNvSpPr>
            <a:spLocks noGrp="1"/>
          </p:cNvSpPr>
          <p:nvPr>
            <p:ph type="body" sz="quarter" idx="11"/>
          </p:nvPr>
        </p:nvSpPr>
        <p:spPr>
          <a:xfrm>
            <a:off x="1517707" y="4615056"/>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26" name="文本占位符 6"/>
          <p:cNvSpPr>
            <a:spLocks noGrp="1"/>
          </p:cNvSpPr>
          <p:nvPr>
            <p:ph type="body" sz="quarter" idx="12" hasCustomPrompt="1"/>
          </p:nvPr>
        </p:nvSpPr>
        <p:spPr>
          <a:xfrm>
            <a:off x="680535" y="4124128"/>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127" name="直接连接符 126"/>
          <p:cNvCxnSpPr/>
          <p:nvPr userDrawn="1"/>
        </p:nvCxnSpPr>
        <p:spPr>
          <a:xfrm>
            <a:off x="1517707" y="4825922"/>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8" name="矩形: 对角圆角 127"/>
          <p:cNvSpPr/>
          <p:nvPr userDrawn="1"/>
        </p:nvSpPr>
        <p:spPr>
          <a:xfrm>
            <a:off x="1588006" y="279896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9" name="文本占位符 6"/>
          <p:cNvSpPr>
            <a:spLocks noGrp="1"/>
          </p:cNvSpPr>
          <p:nvPr>
            <p:ph type="body" sz="quarter" idx="13"/>
          </p:nvPr>
        </p:nvSpPr>
        <p:spPr>
          <a:xfrm>
            <a:off x="2391077" y="2406533"/>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30" name="文本占位符 6"/>
          <p:cNvSpPr>
            <a:spLocks noGrp="1"/>
          </p:cNvSpPr>
          <p:nvPr>
            <p:ph type="body" sz="quarter" idx="14"/>
          </p:nvPr>
        </p:nvSpPr>
        <p:spPr>
          <a:xfrm>
            <a:off x="2391077" y="2770215"/>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31" name="文本占位符 6"/>
          <p:cNvSpPr>
            <a:spLocks noGrp="1"/>
          </p:cNvSpPr>
          <p:nvPr>
            <p:ph type="body" sz="quarter" idx="15" hasCustomPrompt="1"/>
          </p:nvPr>
        </p:nvSpPr>
        <p:spPr>
          <a:xfrm>
            <a:off x="1516234" y="227928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132" name="直接连接符 131"/>
          <p:cNvCxnSpPr/>
          <p:nvPr userDrawn="1"/>
        </p:nvCxnSpPr>
        <p:spPr>
          <a:xfrm>
            <a:off x="2391077" y="2981081"/>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3" name="矩形: 对角圆角 132"/>
          <p:cNvSpPr/>
          <p:nvPr userDrawn="1"/>
        </p:nvSpPr>
        <p:spPr>
          <a:xfrm>
            <a:off x="4307759" y="131950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4" name="文本占位符 6"/>
          <p:cNvSpPr>
            <a:spLocks noGrp="1"/>
          </p:cNvSpPr>
          <p:nvPr>
            <p:ph type="body" sz="quarter" idx="16"/>
          </p:nvPr>
        </p:nvSpPr>
        <p:spPr>
          <a:xfrm>
            <a:off x="5110830" y="927077"/>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35" name="文本占位符 6"/>
          <p:cNvSpPr>
            <a:spLocks noGrp="1"/>
          </p:cNvSpPr>
          <p:nvPr>
            <p:ph type="body" sz="quarter" idx="17"/>
          </p:nvPr>
        </p:nvSpPr>
        <p:spPr>
          <a:xfrm>
            <a:off x="5110830" y="1290759"/>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36" name="文本占位符 6"/>
          <p:cNvSpPr>
            <a:spLocks noGrp="1"/>
          </p:cNvSpPr>
          <p:nvPr>
            <p:ph type="body" sz="quarter" idx="18" hasCustomPrompt="1"/>
          </p:nvPr>
        </p:nvSpPr>
        <p:spPr>
          <a:xfrm>
            <a:off x="4227171" y="799831"/>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137" name="直接连接符 136"/>
          <p:cNvCxnSpPr/>
          <p:nvPr userDrawn="1"/>
        </p:nvCxnSpPr>
        <p:spPr>
          <a:xfrm>
            <a:off x="5110830" y="1501625"/>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8" name="矩形: 对角圆角 137"/>
          <p:cNvSpPr/>
          <p:nvPr userDrawn="1"/>
        </p:nvSpPr>
        <p:spPr>
          <a:xfrm>
            <a:off x="7028752"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9" name="文本占位符 6"/>
          <p:cNvSpPr>
            <a:spLocks noGrp="1"/>
          </p:cNvSpPr>
          <p:nvPr>
            <p:ph type="body" sz="quarter" idx="19"/>
          </p:nvPr>
        </p:nvSpPr>
        <p:spPr>
          <a:xfrm>
            <a:off x="7831823" y="2400300"/>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40" name="文本占位符 6"/>
          <p:cNvSpPr>
            <a:spLocks noGrp="1"/>
          </p:cNvSpPr>
          <p:nvPr>
            <p:ph type="body" sz="quarter" idx="20"/>
          </p:nvPr>
        </p:nvSpPr>
        <p:spPr>
          <a:xfrm>
            <a:off x="7831823" y="2763982"/>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41" name="文本占位符 6"/>
          <p:cNvSpPr>
            <a:spLocks noGrp="1"/>
          </p:cNvSpPr>
          <p:nvPr>
            <p:ph type="body" sz="quarter" idx="21" hasCustomPrompt="1"/>
          </p:nvPr>
        </p:nvSpPr>
        <p:spPr>
          <a:xfrm>
            <a:off x="6957782" y="22730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142" name="直接连接符 141"/>
          <p:cNvCxnSpPr/>
          <p:nvPr userDrawn="1"/>
        </p:nvCxnSpPr>
        <p:spPr>
          <a:xfrm>
            <a:off x="7831823" y="2974848"/>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3" name="矩形: 对角圆角 142"/>
          <p:cNvSpPr/>
          <p:nvPr userDrawn="1"/>
        </p:nvSpPr>
        <p:spPr>
          <a:xfrm>
            <a:off x="8152420" y="4674655"/>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44" name="文本占位符 6"/>
          <p:cNvSpPr>
            <a:spLocks noGrp="1"/>
          </p:cNvSpPr>
          <p:nvPr>
            <p:ph type="body" sz="quarter" idx="22"/>
          </p:nvPr>
        </p:nvSpPr>
        <p:spPr>
          <a:xfrm>
            <a:off x="8955491" y="4282225"/>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45" name="文本占位符 6"/>
          <p:cNvSpPr>
            <a:spLocks noGrp="1"/>
          </p:cNvSpPr>
          <p:nvPr>
            <p:ph type="body" sz="quarter" idx="23"/>
          </p:nvPr>
        </p:nvSpPr>
        <p:spPr>
          <a:xfrm>
            <a:off x="8955491" y="4645907"/>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46" name="文本占位符 6"/>
          <p:cNvSpPr>
            <a:spLocks noGrp="1"/>
          </p:cNvSpPr>
          <p:nvPr>
            <p:ph type="body" sz="quarter" idx="24" hasCustomPrompt="1"/>
          </p:nvPr>
        </p:nvSpPr>
        <p:spPr>
          <a:xfrm>
            <a:off x="8070229" y="4154979"/>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147" name="直接连接符 146"/>
          <p:cNvCxnSpPr/>
          <p:nvPr userDrawn="1"/>
        </p:nvCxnSpPr>
        <p:spPr>
          <a:xfrm>
            <a:off x="8955491" y="4856773"/>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过渡页1-1">
    <p:spTree>
      <p:nvGrpSpPr>
        <p:cNvPr id="1" name=""/>
        <p:cNvGrpSpPr/>
        <p:nvPr/>
      </p:nvGrpSpPr>
      <p:grpSpPr>
        <a:xfrm>
          <a:off x="0" y="0"/>
          <a:ext cx="0" cy="0"/>
          <a:chOff x="0" y="0"/>
          <a:chExt cx="0" cy="0"/>
        </a:xfrm>
      </p:grpSpPr>
      <p:pic>
        <p:nvPicPr>
          <p:cNvPr id="63" name="图片 62"/>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64" name="矩形 63"/>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副标题 2"/>
          <p:cNvSpPr>
            <a:spLocks noGrp="1"/>
          </p:cNvSpPr>
          <p:nvPr>
            <p:ph type="subTitle" idx="1"/>
          </p:nvPr>
        </p:nvSpPr>
        <p:spPr>
          <a:xfrm>
            <a:off x="1447799" y="5151892"/>
            <a:ext cx="10264776" cy="334507"/>
          </a:xfrm>
        </p:spPr>
        <p:txBody>
          <a:bodyPr wrap="none" lIns="0" tIns="0" rIns="0" bIns="0" anchor="ctr">
            <a:noAutofit/>
          </a:bodyPr>
          <a:lstStyle>
            <a:lvl1pPr marL="0" indent="0" algn="l" defTabSz="457200" rtl="0" eaLnBrk="1" latinLnBrk="0" hangingPunct="1">
              <a:lnSpc>
                <a:spcPct val="100000"/>
              </a:lnSpc>
              <a:spcBef>
                <a:spcPts val="0"/>
              </a:spcBef>
              <a:buNone/>
              <a:defRPr lang="en-US" sz="1800" kern="1200" spc="3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p:cNvSpPr>
            <a:spLocks noGrp="1"/>
          </p:cNvSpPr>
          <p:nvPr>
            <p:ph type="ctrTitle"/>
          </p:nvPr>
        </p:nvSpPr>
        <p:spPr>
          <a:xfrm>
            <a:off x="1447799" y="4219594"/>
            <a:ext cx="10264776" cy="923330"/>
          </a:xfrm>
        </p:spPr>
        <p:txBody>
          <a:bodyPr wrap="none" lIns="0" tIns="0" rIns="0" bIns="0" anchor="ctr">
            <a:noAutofit/>
          </a:bodyPr>
          <a:lstStyle>
            <a:lvl1pPr marL="0" algn="l" defTabSz="457200" rtl="0" eaLnBrk="1" latinLnBrk="0" hangingPunct="1">
              <a:lnSpc>
                <a:spcPct val="100000"/>
              </a:lnSpc>
              <a:spcBef>
                <a:spcPts val="0"/>
              </a:spcBef>
              <a:defRPr lang="en-US" sz="5400" b="1" kern="1200" spc="600" dirty="0">
                <a:gradFill flip="none" rotWithShape="1">
                  <a:gsLst>
                    <a:gs pos="100000">
                      <a:schemeClr val="accent1">
                        <a:lumMod val="75000"/>
                      </a:schemeClr>
                    </a:gs>
                    <a:gs pos="0">
                      <a:schemeClr val="accent1"/>
                    </a:gs>
                  </a:gsLst>
                  <a:lin ang="5400000" scaled="1"/>
                  <a:tileRect/>
                </a:gradFill>
                <a:latin typeface="+mn-lt"/>
                <a:ea typeface="+mn-ea"/>
                <a:cs typeface="+mn-cs"/>
              </a:defRPr>
            </a:lvl1pPr>
          </a:lstStyle>
          <a:p>
            <a:endParaRPr lang="en-US" dirty="0"/>
          </a:p>
        </p:txBody>
      </p:sp>
      <p:pic>
        <p:nvPicPr>
          <p:cNvPr id="67" name="图片 66"/>
          <p:cNvPicPr>
            <a:picLocks noChangeAspect="1"/>
          </p:cNvPicPr>
          <p:nvPr userDrawn="1"/>
        </p:nvPicPr>
        <p:blipFill rotWithShape="1">
          <a:blip r:embed="rId3" cstate="email"/>
          <a:srcRect/>
          <a:stretch>
            <a:fillRect/>
          </a:stretch>
        </p:blipFill>
        <p:spPr>
          <a:xfrm>
            <a:off x="381" y="0"/>
            <a:ext cx="12191238" cy="3764280"/>
          </a:xfrm>
          <a:custGeom>
            <a:avLst/>
            <a:gdLst>
              <a:gd name="connsiteX0" fmla="*/ 0 w 12191238"/>
              <a:gd name="connsiteY0" fmla="*/ 0 h 3764280"/>
              <a:gd name="connsiteX1" fmla="*/ 12191238 w 12191238"/>
              <a:gd name="connsiteY1" fmla="*/ 0 h 3764280"/>
              <a:gd name="connsiteX2" fmla="*/ 12191238 w 12191238"/>
              <a:gd name="connsiteY2" fmla="*/ 3764280 h 3764280"/>
              <a:gd name="connsiteX3" fmla="*/ 0 w 12191238"/>
              <a:gd name="connsiteY3" fmla="*/ 3764280 h 3764280"/>
            </a:gdLst>
            <a:ahLst/>
            <a:cxnLst>
              <a:cxn ang="0">
                <a:pos x="connsiteX0" y="connsiteY0"/>
              </a:cxn>
              <a:cxn ang="0">
                <a:pos x="connsiteX1" y="connsiteY1"/>
              </a:cxn>
              <a:cxn ang="0">
                <a:pos x="connsiteX2" y="connsiteY2"/>
              </a:cxn>
              <a:cxn ang="0">
                <a:pos x="connsiteX3" y="connsiteY3"/>
              </a:cxn>
            </a:cxnLst>
            <a:rect l="l" t="t" r="r" b="b"/>
            <a:pathLst>
              <a:path w="12191238" h="3764280">
                <a:moveTo>
                  <a:pt x="0" y="0"/>
                </a:moveTo>
                <a:lnTo>
                  <a:pt x="12191238" y="0"/>
                </a:lnTo>
                <a:lnTo>
                  <a:pt x="12191238" y="3764280"/>
                </a:lnTo>
                <a:lnTo>
                  <a:pt x="0" y="3764280"/>
                </a:lnTo>
                <a:close/>
              </a:path>
            </a:pathLst>
          </a:custGeom>
          <a:effectLst/>
        </p:spPr>
      </p:pic>
      <p:sp>
        <p:nvSpPr>
          <p:cNvPr id="68" name="矩形 67"/>
          <p:cNvSpPr/>
          <p:nvPr userDrawn="1"/>
        </p:nvSpPr>
        <p:spPr>
          <a:xfrm flipV="1">
            <a:off x="0" y="0"/>
            <a:ext cx="12192000" cy="3764281"/>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9" name="直接连接符 68"/>
          <p:cNvCxnSpPr/>
          <p:nvPr userDrawn="1"/>
        </p:nvCxnSpPr>
        <p:spPr>
          <a:xfrm>
            <a:off x="1447800" y="5964382"/>
            <a:ext cx="10744200" cy="0"/>
          </a:xfrm>
          <a:prstGeom prst="line">
            <a:avLst/>
          </a:prstGeom>
          <a:ln>
            <a:solidFill>
              <a:schemeClr val="bg1">
                <a:lumMod val="6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169" name="矩形 168"/>
          <p:cNvSpPr/>
          <p:nvPr userDrawn="1"/>
        </p:nvSpPr>
        <p:spPr>
          <a:xfrm>
            <a:off x="0" y="3616036"/>
            <a:ext cx="12192000" cy="148244"/>
          </a:xfrm>
          <a:prstGeom prst="rect">
            <a:avLst/>
          </a:prstGeom>
          <a:solidFill>
            <a:schemeClr val="tx1">
              <a:lumMod val="65000"/>
              <a:lumOff val="3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文本占位符 4"/>
          <p:cNvSpPr>
            <a:spLocks noGrp="1"/>
          </p:cNvSpPr>
          <p:nvPr>
            <p:ph type="body" sz="quarter" idx="12" hasCustomPrompt="1"/>
          </p:nvPr>
        </p:nvSpPr>
        <p:spPr>
          <a:xfrm>
            <a:off x="1447801" y="1624519"/>
            <a:ext cx="2104811" cy="2320958"/>
          </a:xfrm>
        </p:spPr>
        <p:txBody>
          <a:bodyPr wrap="none" lIns="0" rIns="0">
            <a:noAutofit/>
          </a:bodyPr>
          <a:lstStyle>
            <a:lvl1pPr marL="0" indent="0" algn="ctr" defTabSz="457200" rtl="0" eaLnBrk="1" latinLnBrk="0" hangingPunct="1">
              <a:lnSpc>
                <a:spcPct val="100000"/>
              </a:lnSpc>
              <a:spcBef>
                <a:spcPts val="0"/>
              </a:spcBef>
              <a:buFontTx/>
              <a:buNone/>
              <a:defRPr lang="en-US" altLang="zh-CN" sz="16600" b="1" kern="1200" spc="600" dirty="0">
                <a:ln w="19050">
                  <a:gradFill>
                    <a:gsLst>
                      <a:gs pos="23000">
                        <a:schemeClr val="bg1"/>
                      </a:gs>
                      <a:gs pos="56000">
                        <a:schemeClr val="bg1">
                          <a:alpha val="0"/>
                        </a:schemeClr>
                      </a:gs>
                      <a:gs pos="100000">
                        <a:schemeClr val="bg1">
                          <a:alpha val="0"/>
                        </a:schemeClr>
                      </a:gs>
                    </a:gsLst>
                    <a:lin ang="5400000" scaled="1"/>
                  </a:gradFill>
                </a:ln>
                <a:gradFill>
                  <a:gsLst>
                    <a:gs pos="17000">
                      <a:schemeClr val="bg1">
                        <a:alpha val="74000"/>
                      </a:schemeClr>
                    </a:gs>
                    <a:gs pos="58000">
                      <a:srgbClr val="FFFFFF">
                        <a:alpha val="24000"/>
                      </a:srgbClr>
                    </a:gs>
                    <a:gs pos="83000">
                      <a:schemeClr val="bg1">
                        <a:alpha val="0"/>
                      </a:schemeClr>
                    </a:gs>
                  </a:gsLst>
                  <a:lin ang="5400000" scaled="1"/>
                </a:gradFill>
                <a:latin typeface="Impact" panose="020B0806030902050204" pitchFamily="34" charset="0"/>
                <a:ea typeface="+mn-ea"/>
                <a:cs typeface="+mn-cs"/>
              </a:defRPr>
            </a:lvl1pPr>
          </a:lstStyle>
          <a:p>
            <a:pPr marL="0" lvl="0" indent="0" algn="ctr" defTabSz="457200" rtl="0" eaLnBrk="1" latinLnBrk="0" hangingPunct="1">
              <a:lnSpc>
                <a:spcPct val="100000"/>
              </a:lnSpc>
              <a:spcBef>
                <a:spcPts val="0"/>
              </a:spcBef>
              <a:buFontTx/>
              <a:buNone/>
            </a:pPr>
            <a:r>
              <a:rPr lang="en-US" altLang="zh-CN" dirty="0"/>
              <a:t>01</a:t>
            </a:r>
          </a:p>
        </p:txBody>
      </p:sp>
      <p:sp>
        <p:nvSpPr>
          <p:cNvPr id="171" name="矩形 170"/>
          <p:cNvSpPr/>
          <p:nvPr userDrawn="1"/>
        </p:nvSpPr>
        <p:spPr>
          <a:xfrm>
            <a:off x="1447801" y="3616036"/>
            <a:ext cx="2104811" cy="14824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组合 160"/>
          <p:cNvGrpSpPr/>
          <p:nvPr userDrawn="1"/>
        </p:nvGrpSpPr>
        <p:grpSpPr>
          <a:xfrm>
            <a:off x="10477913" y="446123"/>
            <a:ext cx="1234662" cy="419641"/>
            <a:chOff x="1398368" y="5051425"/>
            <a:chExt cx="3242941" cy="1102222"/>
          </a:xfrm>
          <a:solidFill>
            <a:schemeClr val="bg1"/>
          </a:solidFill>
        </p:grpSpPr>
        <p:sp>
          <p:nvSpPr>
            <p:cNvPr id="1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5" name="组合 164"/>
            <p:cNvGrpSpPr/>
            <p:nvPr/>
          </p:nvGrpSpPr>
          <p:grpSpPr>
            <a:xfrm>
              <a:off x="2921957" y="5168150"/>
              <a:ext cx="542765" cy="642593"/>
              <a:chOff x="3102298" y="5183391"/>
              <a:chExt cx="501880" cy="594188"/>
            </a:xfrm>
            <a:grpFill/>
          </p:grpSpPr>
          <p:sp>
            <p:nvSpPr>
              <p:cNvPr id="208"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9"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0"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6" name="组合 165"/>
            <p:cNvGrpSpPr/>
            <p:nvPr/>
          </p:nvGrpSpPr>
          <p:grpSpPr>
            <a:xfrm>
              <a:off x="4196892" y="5154476"/>
              <a:ext cx="444417" cy="649987"/>
              <a:chOff x="4257853" y="5169716"/>
              <a:chExt cx="410940" cy="601025"/>
            </a:xfrm>
            <a:grpFill/>
          </p:grpSpPr>
          <p:sp>
            <p:nvSpPr>
              <p:cNvPr id="203"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过渡页2-1">
    <p:spTree>
      <p:nvGrpSpPr>
        <p:cNvPr id="1" name=""/>
        <p:cNvGrpSpPr/>
        <p:nvPr/>
      </p:nvGrpSpPr>
      <p:grpSpPr>
        <a:xfrm>
          <a:off x="0" y="0"/>
          <a:ext cx="0" cy="0"/>
          <a:chOff x="0" y="0"/>
          <a:chExt cx="0" cy="0"/>
        </a:xfrm>
      </p:grpSpPr>
      <p:pic>
        <p:nvPicPr>
          <p:cNvPr id="61" name="图片 60"/>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3" name="副标题 2"/>
          <p:cNvSpPr>
            <a:spLocks noGrp="1"/>
          </p:cNvSpPr>
          <p:nvPr>
            <p:ph type="subTitle" idx="1"/>
          </p:nvPr>
        </p:nvSpPr>
        <p:spPr>
          <a:xfrm>
            <a:off x="2016868" y="4708197"/>
            <a:ext cx="8158264" cy="331948"/>
          </a:xfrm>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p:cNvSpPr>
            <a:spLocks noGrp="1"/>
          </p:cNvSpPr>
          <p:nvPr>
            <p:ph type="ctrTitle"/>
          </p:nvPr>
        </p:nvSpPr>
        <p:spPr>
          <a:xfrm>
            <a:off x="2016868" y="3775898"/>
            <a:ext cx="8158264" cy="923330"/>
          </a:xfrm>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166" name="直接连接符 165"/>
          <p:cNvCxnSpPr/>
          <p:nvPr userDrawn="1"/>
        </p:nvCxnSpPr>
        <p:spPr>
          <a:xfrm>
            <a:off x="2049780" y="5551166"/>
            <a:ext cx="8092440"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5" name="文本占位符 4"/>
          <p:cNvSpPr>
            <a:spLocks noGrp="1"/>
          </p:cNvSpPr>
          <p:nvPr>
            <p:ph type="body" sz="quarter" idx="12" hasCustomPrompt="1"/>
          </p:nvPr>
        </p:nvSpPr>
        <p:spPr>
          <a:xfrm>
            <a:off x="4954993" y="1215475"/>
            <a:ext cx="2282014" cy="2646878"/>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168" name="直接连接符 167"/>
          <p:cNvCxnSpPr/>
          <p:nvPr userDrawn="1"/>
        </p:nvCxnSpPr>
        <p:spPr>
          <a:xfrm>
            <a:off x="5612102" y="3681007"/>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170" name="组合 169"/>
          <p:cNvGrpSpPr/>
          <p:nvPr userDrawn="1"/>
        </p:nvGrpSpPr>
        <p:grpSpPr>
          <a:xfrm>
            <a:off x="5806353" y="-1"/>
            <a:ext cx="579293" cy="751263"/>
            <a:chOff x="5820641" y="-1"/>
            <a:chExt cx="579293" cy="751263"/>
          </a:xfrm>
        </p:grpSpPr>
        <p:sp>
          <p:nvSpPr>
            <p:cNvPr id="172" name="任意多边形: 形状 171"/>
            <p:cNvSpPr/>
            <p:nvPr/>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任意多边形: 形状 172"/>
            <p:cNvSpPr/>
            <p:nvPr/>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1" fmla="*/ 0 w 550718"/>
                <a:gd name="connsiteY0-2" fmla="*/ 15239 h 766502"/>
                <a:gd name="connsiteX1-3" fmla="*/ 471574 w 550718"/>
                <a:gd name="connsiteY1-4" fmla="*/ 0 h 766502"/>
                <a:gd name="connsiteX2-5" fmla="*/ 550718 w 550718"/>
                <a:gd name="connsiteY2-6" fmla="*/ 15239 h 766502"/>
                <a:gd name="connsiteX3-7" fmla="*/ 550718 w 550718"/>
                <a:gd name="connsiteY3-8" fmla="*/ 49529 h 766502"/>
                <a:gd name="connsiteX4-9" fmla="*/ 550718 w 550718"/>
                <a:gd name="connsiteY4-10" fmla="*/ 112394 h 766502"/>
                <a:gd name="connsiteX5-11" fmla="*/ 550718 w 550718"/>
                <a:gd name="connsiteY5-12" fmla="*/ 766502 h 766502"/>
                <a:gd name="connsiteX6-13" fmla="*/ 332814 w 550718"/>
                <a:gd name="connsiteY6-14" fmla="*/ 766502 h 766502"/>
                <a:gd name="connsiteX7-15" fmla="*/ 275359 w 550718"/>
                <a:gd name="connsiteY7-16" fmla="*/ 654877 h 766502"/>
                <a:gd name="connsiteX8-17" fmla="*/ 217904 w 550718"/>
                <a:gd name="connsiteY8-18" fmla="*/ 766502 h 766502"/>
                <a:gd name="connsiteX9-19" fmla="*/ 0 w 550718"/>
                <a:gd name="connsiteY9-20" fmla="*/ 766502 h 766502"/>
                <a:gd name="connsiteX10-21" fmla="*/ 0 w 550718"/>
                <a:gd name="connsiteY10-22" fmla="*/ 112394 h 766502"/>
                <a:gd name="connsiteX11" fmla="*/ 0 w 550718"/>
                <a:gd name="connsiteY11" fmla="*/ 49529 h 766502"/>
                <a:gd name="connsiteX12" fmla="*/ 0 w 550718"/>
                <a:gd name="connsiteY12" fmla="*/ 15239 h 766502"/>
                <a:gd name="connsiteX0-23" fmla="*/ 471574 w 563014"/>
                <a:gd name="connsiteY0-24" fmla="*/ 0 h 766502"/>
                <a:gd name="connsiteX1-25" fmla="*/ 550718 w 563014"/>
                <a:gd name="connsiteY1-26" fmla="*/ 15239 h 766502"/>
                <a:gd name="connsiteX2-27" fmla="*/ 550718 w 563014"/>
                <a:gd name="connsiteY2-28" fmla="*/ 49529 h 766502"/>
                <a:gd name="connsiteX3-29" fmla="*/ 550718 w 563014"/>
                <a:gd name="connsiteY3-30" fmla="*/ 112394 h 766502"/>
                <a:gd name="connsiteX4-31" fmla="*/ 550718 w 563014"/>
                <a:gd name="connsiteY4-32" fmla="*/ 766502 h 766502"/>
                <a:gd name="connsiteX5-33" fmla="*/ 332814 w 563014"/>
                <a:gd name="connsiteY5-34" fmla="*/ 766502 h 766502"/>
                <a:gd name="connsiteX6-35" fmla="*/ 275359 w 563014"/>
                <a:gd name="connsiteY6-36" fmla="*/ 654877 h 766502"/>
                <a:gd name="connsiteX7-37" fmla="*/ 217904 w 563014"/>
                <a:gd name="connsiteY7-38" fmla="*/ 766502 h 766502"/>
                <a:gd name="connsiteX8-39" fmla="*/ 0 w 563014"/>
                <a:gd name="connsiteY8-40" fmla="*/ 766502 h 766502"/>
                <a:gd name="connsiteX9-41" fmla="*/ 0 w 563014"/>
                <a:gd name="connsiteY9-42" fmla="*/ 112394 h 766502"/>
                <a:gd name="connsiteX10-43" fmla="*/ 0 w 563014"/>
                <a:gd name="connsiteY10-44" fmla="*/ 49529 h 766502"/>
                <a:gd name="connsiteX11-45" fmla="*/ 0 w 563014"/>
                <a:gd name="connsiteY11-46" fmla="*/ 15239 h 766502"/>
                <a:gd name="connsiteX12-47" fmla="*/ 563014 w 563014"/>
                <a:gd name="connsiteY12-48" fmla="*/ 91440 h 766502"/>
                <a:gd name="connsiteX0-49" fmla="*/ 550718 w 563014"/>
                <a:gd name="connsiteY0-50" fmla="*/ 1132 h 752395"/>
                <a:gd name="connsiteX1-51" fmla="*/ 550718 w 563014"/>
                <a:gd name="connsiteY1-52" fmla="*/ 35422 h 752395"/>
                <a:gd name="connsiteX2-53" fmla="*/ 550718 w 563014"/>
                <a:gd name="connsiteY2-54" fmla="*/ 98287 h 752395"/>
                <a:gd name="connsiteX3-55" fmla="*/ 550718 w 563014"/>
                <a:gd name="connsiteY3-56" fmla="*/ 752395 h 752395"/>
                <a:gd name="connsiteX4-57" fmla="*/ 332814 w 563014"/>
                <a:gd name="connsiteY4-58" fmla="*/ 752395 h 752395"/>
                <a:gd name="connsiteX5-59" fmla="*/ 275359 w 563014"/>
                <a:gd name="connsiteY5-60" fmla="*/ 640770 h 752395"/>
                <a:gd name="connsiteX6-61" fmla="*/ 217904 w 563014"/>
                <a:gd name="connsiteY6-62" fmla="*/ 752395 h 752395"/>
                <a:gd name="connsiteX7-63" fmla="*/ 0 w 563014"/>
                <a:gd name="connsiteY7-64" fmla="*/ 752395 h 752395"/>
                <a:gd name="connsiteX8-65" fmla="*/ 0 w 563014"/>
                <a:gd name="connsiteY8-66" fmla="*/ 98287 h 752395"/>
                <a:gd name="connsiteX9-67" fmla="*/ 0 w 563014"/>
                <a:gd name="connsiteY9-68" fmla="*/ 35422 h 752395"/>
                <a:gd name="connsiteX10-69" fmla="*/ 0 w 563014"/>
                <a:gd name="connsiteY10-70" fmla="*/ 1132 h 752395"/>
                <a:gd name="connsiteX11-71" fmla="*/ 563014 w 563014"/>
                <a:gd name="connsiteY11-72" fmla="*/ 77333 h 752395"/>
                <a:gd name="connsiteX0-73" fmla="*/ 550718 w 550718"/>
                <a:gd name="connsiteY0-74" fmla="*/ 0 h 751263"/>
                <a:gd name="connsiteX1-75" fmla="*/ 550718 w 550718"/>
                <a:gd name="connsiteY1-76" fmla="*/ 34290 h 751263"/>
                <a:gd name="connsiteX2-77" fmla="*/ 550718 w 550718"/>
                <a:gd name="connsiteY2-78" fmla="*/ 97155 h 751263"/>
                <a:gd name="connsiteX3-79" fmla="*/ 550718 w 550718"/>
                <a:gd name="connsiteY3-80" fmla="*/ 751263 h 751263"/>
                <a:gd name="connsiteX4-81" fmla="*/ 332814 w 550718"/>
                <a:gd name="connsiteY4-82" fmla="*/ 751263 h 751263"/>
                <a:gd name="connsiteX5-83" fmla="*/ 275359 w 550718"/>
                <a:gd name="connsiteY5-84" fmla="*/ 639638 h 751263"/>
                <a:gd name="connsiteX6-85" fmla="*/ 217904 w 550718"/>
                <a:gd name="connsiteY6-86" fmla="*/ 751263 h 751263"/>
                <a:gd name="connsiteX7-87" fmla="*/ 0 w 550718"/>
                <a:gd name="connsiteY7-88" fmla="*/ 751263 h 751263"/>
                <a:gd name="connsiteX8-89" fmla="*/ 0 w 550718"/>
                <a:gd name="connsiteY8-90" fmla="*/ 97155 h 751263"/>
                <a:gd name="connsiteX9-91" fmla="*/ 0 w 550718"/>
                <a:gd name="connsiteY9-92" fmla="*/ 34290 h 751263"/>
                <a:gd name="connsiteX10-93" fmla="*/ 0 w 550718"/>
                <a:gd name="connsiteY10-94" fmla="*/ 0 h 75126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组合 68"/>
          <p:cNvGrpSpPr/>
          <p:nvPr userDrawn="1"/>
        </p:nvGrpSpPr>
        <p:grpSpPr>
          <a:xfrm>
            <a:off x="8431598" y="0"/>
            <a:ext cx="3760402" cy="4528788"/>
            <a:chOff x="8431598" y="0"/>
            <a:chExt cx="3760402" cy="4528788"/>
          </a:xfrm>
        </p:grpSpPr>
        <p:sp>
          <p:nvSpPr>
            <p:cNvPr id="70" name="任意多边形: 形状 69"/>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71" name="任意多边形: 形状 70"/>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2" name="任意多边形: 形状 71"/>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grpSp>
        <p:nvGrpSpPr>
          <p:cNvPr id="119" name="组合 118"/>
          <p:cNvGrpSpPr/>
          <p:nvPr userDrawn="1"/>
        </p:nvGrpSpPr>
        <p:grpSpPr>
          <a:xfrm>
            <a:off x="10477913" y="446123"/>
            <a:ext cx="1234662" cy="419641"/>
            <a:chOff x="1398368" y="5051425"/>
            <a:chExt cx="3242941" cy="1102222"/>
          </a:xfrm>
        </p:grpSpPr>
        <p:sp>
          <p:nvSpPr>
            <p:cNvPr id="120"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7" name="组合 166"/>
            <p:cNvGrpSpPr/>
            <p:nvPr/>
          </p:nvGrpSpPr>
          <p:grpSpPr>
            <a:xfrm>
              <a:off x="2921957" y="5168150"/>
              <a:ext cx="542765" cy="642593"/>
              <a:chOff x="3102298" y="5183391"/>
              <a:chExt cx="501880" cy="594188"/>
            </a:xfrm>
          </p:grpSpPr>
          <p:sp>
            <p:nvSpPr>
              <p:cNvPr id="212"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3"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4"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9" name="组合 168"/>
            <p:cNvGrpSpPr/>
            <p:nvPr/>
          </p:nvGrpSpPr>
          <p:grpSpPr>
            <a:xfrm>
              <a:off x="4196892" y="5154476"/>
              <a:ext cx="444417" cy="649987"/>
              <a:chOff x="4257853" y="5169716"/>
              <a:chExt cx="410940" cy="601025"/>
            </a:xfrm>
          </p:grpSpPr>
          <p:sp>
            <p:nvSpPr>
              <p:cNvPr id="207"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8"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9"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0"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1"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7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过渡页3-1">
    <p:spTree>
      <p:nvGrpSpPr>
        <p:cNvPr id="1" name=""/>
        <p:cNvGrpSpPr/>
        <p:nvPr/>
      </p:nvGrpSpPr>
      <p:grpSpPr>
        <a:xfrm>
          <a:off x="0" y="0"/>
          <a:ext cx="0" cy="0"/>
          <a:chOff x="0" y="0"/>
          <a:chExt cx="0" cy="0"/>
        </a:xfrm>
      </p:grpSpPr>
      <p:pic>
        <p:nvPicPr>
          <p:cNvPr id="63" name="图片 62"/>
          <p:cNvPicPr>
            <a:picLocks noChangeAspect="1"/>
          </p:cNvPicPr>
          <p:nvPr userDrawn="1"/>
        </p:nvPicPr>
        <p:blipFill rotWithShape="1">
          <a:blip r:embed="rId2" cstate="email"/>
          <a:srcRect/>
          <a:stretch>
            <a:fillRect/>
          </a:stretch>
        </p:blipFill>
        <p:spPr>
          <a:xfrm>
            <a:off x="-1" y="0"/>
            <a:ext cx="12192002" cy="6858000"/>
          </a:xfrm>
          <a:prstGeom prst="rect">
            <a:avLst/>
          </a:prstGeom>
        </p:spPr>
      </p:pic>
      <p:sp>
        <p:nvSpPr>
          <p:cNvPr id="178" name="任意多边形: 形状 177"/>
          <p:cNvSpPr/>
          <p:nvPr userDrawn="1"/>
        </p:nvSpPr>
        <p:spPr>
          <a:xfrm>
            <a:off x="2551831" y="892601"/>
            <a:ext cx="6852214" cy="5965399"/>
          </a:xfrm>
          <a:custGeom>
            <a:avLst/>
            <a:gdLst>
              <a:gd name="connsiteX0" fmla="*/ 3426108 w 6852214"/>
              <a:gd name="connsiteY0" fmla="*/ 0 h 5965399"/>
              <a:gd name="connsiteX1" fmla="*/ 6852214 w 6852214"/>
              <a:gd name="connsiteY1" fmla="*/ 3426107 h 5965399"/>
              <a:gd name="connsiteX2" fmla="*/ 5848731 w 6852214"/>
              <a:gd name="connsiteY2" fmla="*/ 5848731 h 5965399"/>
              <a:gd name="connsiteX3" fmla="*/ 5720364 w 6852214"/>
              <a:gd name="connsiteY3" fmla="*/ 5965399 h 5965399"/>
              <a:gd name="connsiteX4" fmla="*/ 1131851 w 6852214"/>
              <a:gd name="connsiteY4" fmla="*/ 5965399 h 5965399"/>
              <a:gd name="connsiteX5" fmla="*/ 1003484 w 6852214"/>
              <a:gd name="connsiteY5" fmla="*/ 5848731 h 5965399"/>
              <a:gd name="connsiteX6" fmla="*/ 0 w 6852214"/>
              <a:gd name="connsiteY6" fmla="*/ 3426107 h 5965399"/>
              <a:gd name="connsiteX7" fmla="*/ 3426108 w 6852214"/>
              <a:gd name="connsiteY7" fmla="*/ 0 h 5965399"/>
              <a:gd name="connsiteX0-1" fmla="*/ 3426108 w 6852214"/>
              <a:gd name="connsiteY0-2" fmla="*/ 0 h 6483559"/>
              <a:gd name="connsiteX1-3" fmla="*/ 6852214 w 6852214"/>
              <a:gd name="connsiteY1-4" fmla="*/ 3426107 h 6483559"/>
              <a:gd name="connsiteX2-5" fmla="*/ 5848731 w 6852214"/>
              <a:gd name="connsiteY2-6" fmla="*/ 5848731 h 6483559"/>
              <a:gd name="connsiteX3-7" fmla="*/ 5720364 w 6852214"/>
              <a:gd name="connsiteY3-8" fmla="*/ 5965399 h 6483559"/>
              <a:gd name="connsiteX4-9" fmla="*/ 3848969 w 6852214"/>
              <a:gd name="connsiteY4-10" fmla="*/ 6483559 h 6483559"/>
              <a:gd name="connsiteX5-11" fmla="*/ 1131851 w 6852214"/>
              <a:gd name="connsiteY5-12" fmla="*/ 5965399 h 6483559"/>
              <a:gd name="connsiteX6-13" fmla="*/ 1003484 w 6852214"/>
              <a:gd name="connsiteY6-14" fmla="*/ 5848731 h 6483559"/>
              <a:gd name="connsiteX7-15" fmla="*/ 0 w 6852214"/>
              <a:gd name="connsiteY7-16" fmla="*/ 3426107 h 6483559"/>
              <a:gd name="connsiteX8" fmla="*/ 3426108 w 6852214"/>
              <a:gd name="connsiteY8" fmla="*/ 0 h 6483559"/>
              <a:gd name="connsiteX0-17" fmla="*/ 3848969 w 6852214"/>
              <a:gd name="connsiteY0-18" fmla="*/ 6483559 h 6574999"/>
              <a:gd name="connsiteX1-19" fmla="*/ 1131851 w 6852214"/>
              <a:gd name="connsiteY1-20" fmla="*/ 5965399 h 6574999"/>
              <a:gd name="connsiteX2-21" fmla="*/ 1003484 w 6852214"/>
              <a:gd name="connsiteY2-22" fmla="*/ 5848731 h 6574999"/>
              <a:gd name="connsiteX3-23" fmla="*/ 0 w 6852214"/>
              <a:gd name="connsiteY3-24" fmla="*/ 3426107 h 6574999"/>
              <a:gd name="connsiteX4-25" fmla="*/ 3426108 w 6852214"/>
              <a:gd name="connsiteY4-26" fmla="*/ 0 h 6574999"/>
              <a:gd name="connsiteX5-27" fmla="*/ 6852214 w 6852214"/>
              <a:gd name="connsiteY5-28" fmla="*/ 3426107 h 6574999"/>
              <a:gd name="connsiteX6-29" fmla="*/ 5848731 w 6852214"/>
              <a:gd name="connsiteY6-30" fmla="*/ 5848731 h 6574999"/>
              <a:gd name="connsiteX7-31" fmla="*/ 5720364 w 6852214"/>
              <a:gd name="connsiteY7-32" fmla="*/ 5965399 h 6574999"/>
              <a:gd name="connsiteX8-33" fmla="*/ 3940409 w 6852214"/>
              <a:gd name="connsiteY8-34" fmla="*/ 6574999 h 6574999"/>
              <a:gd name="connsiteX0-35" fmla="*/ 3848969 w 6852214"/>
              <a:gd name="connsiteY0-36" fmla="*/ 6483559 h 6483559"/>
              <a:gd name="connsiteX1-37" fmla="*/ 1131851 w 6852214"/>
              <a:gd name="connsiteY1-38" fmla="*/ 5965399 h 6483559"/>
              <a:gd name="connsiteX2-39" fmla="*/ 1003484 w 6852214"/>
              <a:gd name="connsiteY2-40" fmla="*/ 5848731 h 6483559"/>
              <a:gd name="connsiteX3-41" fmla="*/ 0 w 6852214"/>
              <a:gd name="connsiteY3-42" fmla="*/ 3426107 h 6483559"/>
              <a:gd name="connsiteX4-43" fmla="*/ 3426108 w 6852214"/>
              <a:gd name="connsiteY4-44" fmla="*/ 0 h 6483559"/>
              <a:gd name="connsiteX5-45" fmla="*/ 6852214 w 6852214"/>
              <a:gd name="connsiteY5-46" fmla="*/ 3426107 h 6483559"/>
              <a:gd name="connsiteX6-47" fmla="*/ 5848731 w 6852214"/>
              <a:gd name="connsiteY6-48" fmla="*/ 5848731 h 6483559"/>
              <a:gd name="connsiteX7-49" fmla="*/ 5720364 w 6852214"/>
              <a:gd name="connsiteY7-50" fmla="*/ 5965399 h 6483559"/>
              <a:gd name="connsiteX0-51" fmla="*/ 1131851 w 6852214"/>
              <a:gd name="connsiteY0-52" fmla="*/ 5965399 h 5965399"/>
              <a:gd name="connsiteX1-53" fmla="*/ 1003484 w 6852214"/>
              <a:gd name="connsiteY1-54" fmla="*/ 5848731 h 5965399"/>
              <a:gd name="connsiteX2-55" fmla="*/ 0 w 6852214"/>
              <a:gd name="connsiteY2-56" fmla="*/ 3426107 h 5965399"/>
              <a:gd name="connsiteX3-57" fmla="*/ 3426108 w 6852214"/>
              <a:gd name="connsiteY3-58" fmla="*/ 0 h 5965399"/>
              <a:gd name="connsiteX4-59" fmla="*/ 6852214 w 6852214"/>
              <a:gd name="connsiteY4-60" fmla="*/ 3426107 h 5965399"/>
              <a:gd name="connsiteX5-61" fmla="*/ 5848731 w 6852214"/>
              <a:gd name="connsiteY5-62" fmla="*/ 5848731 h 5965399"/>
              <a:gd name="connsiteX6-63" fmla="*/ 5720364 w 6852214"/>
              <a:gd name="connsiteY6-64" fmla="*/ 5965399 h 596539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852214" h="5965399">
                <a:moveTo>
                  <a:pt x="1131851" y="5965399"/>
                </a:moveTo>
                <a:lnTo>
                  <a:pt x="1003484" y="5848731"/>
                </a:lnTo>
                <a:cubicBezTo>
                  <a:pt x="383480" y="5228727"/>
                  <a:pt x="0" y="4372201"/>
                  <a:pt x="0" y="3426107"/>
                </a:cubicBezTo>
                <a:cubicBezTo>
                  <a:pt x="0" y="1533920"/>
                  <a:pt x="1533920" y="0"/>
                  <a:pt x="3426108" y="0"/>
                </a:cubicBezTo>
                <a:cubicBezTo>
                  <a:pt x="5318294" y="0"/>
                  <a:pt x="6852214" y="1533920"/>
                  <a:pt x="6852214" y="3426107"/>
                </a:cubicBezTo>
                <a:cubicBezTo>
                  <a:pt x="6852214" y="4372201"/>
                  <a:pt x="6468734" y="5228727"/>
                  <a:pt x="5848731" y="5848731"/>
                </a:cubicBezTo>
                <a:lnTo>
                  <a:pt x="5720364" y="5965399"/>
                </a:lnTo>
              </a:path>
            </a:pathLst>
          </a:custGeom>
          <a:pattFill prst="ltUpDiag">
            <a:fgClr>
              <a:schemeClr val="bg1">
                <a:lumMod val="95000"/>
              </a:schemeClr>
            </a:fgClr>
            <a:bgClr>
              <a:schemeClr val="bg1"/>
            </a:bgClr>
          </a:pattFill>
          <a:ln w="76200" cap="flat" cmpd="thickThin"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副标题 2"/>
          <p:cNvSpPr>
            <a:spLocks noGrp="1"/>
          </p:cNvSpPr>
          <p:nvPr>
            <p:ph type="subTitle" idx="1"/>
          </p:nvPr>
        </p:nvSpPr>
        <p:spPr>
          <a:xfrm>
            <a:off x="2781397" y="5089197"/>
            <a:ext cx="6393084" cy="331948"/>
          </a:xfrm>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p:cNvSpPr>
            <a:spLocks noGrp="1"/>
          </p:cNvSpPr>
          <p:nvPr>
            <p:ph type="ctrTitle"/>
          </p:nvPr>
        </p:nvSpPr>
        <p:spPr>
          <a:xfrm>
            <a:off x="2718093" y="4156898"/>
            <a:ext cx="6519692" cy="923330"/>
          </a:xfrm>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69" name="直接连接符 68"/>
          <p:cNvCxnSpPr/>
          <p:nvPr userDrawn="1"/>
        </p:nvCxnSpPr>
        <p:spPr>
          <a:xfrm>
            <a:off x="3253788" y="5688326"/>
            <a:ext cx="5448300"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0" name="文本占位符 4"/>
          <p:cNvSpPr>
            <a:spLocks noGrp="1"/>
          </p:cNvSpPr>
          <p:nvPr>
            <p:ph type="body" sz="quarter" idx="12" hasCustomPrompt="1"/>
          </p:nvPr>
        </p:nvSpPr>
        <p:spPr>
          <a:xfrm>
            <a:off x="4836932" y="1965959"/>
            <a:ext cx="2282014" cy="2064033"/>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71" name="直接连接符 70"/>
          <p:cNvCxnSpPr/>
          <p:nvPr userDrawn="1"/>
        </p:nvCxnSpPr>
        <p:spPr>
          <a:xfrm>
            <a:off x="5494041" y="4062007"/>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79" name="任意多边形: 形状 178"/>
          <p:cNvSpPr/>
          <p:nvPr userDrawn="1"/>
        </p:nvSpPr>
        <p:spPr>
          <a:xfrm>
            <a:off x="2689956" y="1030726"/>
            <a:ext cx="6575964" cy="5827275"/>
          </a:xfrm>
          <a:custGeom>
            <a:avLst/>
            <a:gdLst>
              <a:gd name="connsiteX0" fmla="*/ 3287982 w 6575964"/>
              <a:gd name="connsiteY0" fmla="*/ 0 h 5827275"/>
              <a:gd name="connsiteX1" fmla="*/ 6575964 w 6575964"/>
              <a:gd name="connsiteY1" fmla="*/ 3287982 h 5827275"/>
              <a:gd name="connsiteX2" fmla="*/ 5379444 w 6575964"/>
              <a:gd name="connsiteY2" fmla="*/ 5825149 h 5827275"/>
              <a:gd name="connsiteX3" fmla="*/ 5376601 w 6575964"/>
              <a:gd name="connsiteY3" fmla="*/ 5827275 h 5827275"/>
              <a:gd name="connsiteX4" fmla="*/ 1199364 w 6575964"/>
              <a:gd name="connsiteY4" fmla="*/ 5827275 h 5827275"/>
              <a:gd name="connsiteX5" fmla="*/ 1196521 w 6575964"/>
              <a:gd name="connsiteY5" fmla="*/ 5825149 h 5827275"/>
              <a:gd name="connsiteX6" fmla="*/ 0 w 6575964"/>
              <a:gd name="connsiteY6" fmla="*/ 3287982 h 5827275"/>
              <a:gd name="connsiteX7" fmla="*/ 3287982 w 6575964"/>
              <a:gd name="connsiteY7" fmla="*/ 0 h 5827275"/>
              <a:gd name="connsiteX0-1" fmla="*/ 3287982 w 6575964"/>
              <a:gd name="connsiteY0-2" fmla="*/ 0 h 6391154"/>
              <a:gd name="connsiteX1-3" fmla="*/ 6575964 w 6575964"/>
              <a:gd name="connsiteY1-4" fmla="*/ 3287982 h 6391154"/>
              <a:gd name="connsiteX2-5" fmla="*/ 5379444 w 6575964"/>
              <a:gd name="connsiteY2-6" fmla="*/ 5825149 h 6391154"/>
              <a:gd name="connsiteX3-7" fmla="*/ 5376601 w 6575964"/>
              <a:gd name="connsiteY3-8" fmla="*/ 5827275 h 6391154"/>
              <a:gd name="connsiteX4-9" fmla="*/ 3390804 w 6575964"/>
              <a:gd name="connsiteY4-10" fmla="*/ 6391154 h 6391154"/>
              <a:gd name="connsiteX5-11" fmla="*/ 1199364 w 6575964"/>
              <a:gd name="connsiteY5-12" fmla="*/ 5827275 h 6391154"/>
              <a:gd name="connsiteX6-13" fmla="*/ 1196521 w 6575964"/>
              <a:gd name="connsiteY6-14" fmla="*/ 5825149 h 6391154"/>
              <a:gd name="connsiteX7-15" fmla="*/ 0 w 6575964"/>
              <a:gd name="connsiteY7-16" fmla="*/ 3287982 h 6391154"/>
              <a:gd name="connsiteX8" fmla="*/ 3287982 w 6575964"/>
              <a:gd name="connsiteY8" fmla="*/ 0 h 6391154"/>
              <a:gd name="connsiteX0-17" fmla="*/ 3390804 w 6575964"/>
              <a:gd name="connsiteY0-18" fmla="*/ 6391154 h 6482594"/>
              <a:gd name="connsiteX1-19" fmla="*/ 1199364 w 6575964"/>
              <a:gd name="connsiteY1-20" fmla="*/ 5827275 h 6482594"/>
              <a:gd name="connsiteX2-21" fmla="*/ 1196521 w 6575964"/>
              <a:gd name="connsiteY2-22" fmla="*/ 5825149 h 6482594"/>
              <a:gd name="connsiteX3-23" fmla="*/ 0 w 6575964"/>
              <a:gd name="connsiteY3-24" fmla="*/ 3287982 h 6482594"/>
              <a:gd name="connsiteX4-25" fmla="*/ 3287982 w 6575964"/>
              <a:gd name="connsiteY4-26" fmla="*/ 0 h 6482594"/>
              <a:gd name="connsiteX5-27" fmla="*/ 6575964 w 6575964"/>
              <a:gd name="connsiteY5-28" fmla="*/ 3287982 h 6482594"/>
              <a:gd name="connsiteX6-29" fmla="*/ 5379444 w 6575964"/>
              <a:gd name="connsiteY6-30" fmla="*/ 5825149 h 6482594"/>
              <a:gd name="connsiteX7-31" fmla="*/ 5376601 w 6575964"/>
              <a:gd name="connsiteY7-32" fmla="*/ 5827275 h 6482594"/>
              <a:gd name="connsiteX8-33" fmla="*/ 3482244 w 6575964"/>
              <a:gd name="connsiteY8-34" fmla="*/ 6482594 h 6482594"/>
              <a:gd name="connsiteX0-35" fmla="*/ 3390804 w 6575964"/>
              <a:gd name="connsiteY0-36" fmla="*/ 6391154 h 6391154"/>
              <a:gd name="connsiteX1-37" fmla="*/ 1199364 w 6575964"/>
              <a:gd name="connsiteY1-38" fmla="*/ 5827275 h 6391154"/>
              <a:gd name="connsiteX2-39" fmla="*/ 1196521 w 6575964"/>
              <a:gd name="connsiteY2-40" fmla="*/ 5825149 h 6391154"/>
              <a:gd name="connsiteX3-41" fmla="*/ 0 w 6575964"/>
              <a:gd name="connsiteY3-42" fmla="*/ 3287982 h 6391154"/>
              <a:gd name="connsiteX4-43" fmla="*/ 3287982 w 6575964"/>
              <a:gd name="connsiteY4-44" fmla="*/ 0 h 6391154"/>
              <a:gd name="connsiteX5-45" fmla="*/ 6575964 w 6575964"/>
              <a:gd name="connsiteY5-46" fmla="*/ 3287982 h 6391154"/>
              <a:gd name="connsiteX6-47" fmla="*/ 5379444 w 6575964"/>
              <a:gd name="connsiteY6-48" fmla="*/ 5825149 h 6391154"/>
              <a:gd name="connsiteX7-49" fmla="*/ 5376601 w 6575964"/>
              <a:gd name="connsiteY7-50" fmla="*/ 5827275 h 6391154"/>
              <a:gd name="connsiteX0-51" fmla="*/ 1199364 w 6575964"/>
              <a:gd name="connsiteY0-52" fmla="*/ 5827275 h 5827275"/>
              <a:gd name="connsiteX1-53" fmla="*/ 1196521 w 6575964"/>
              <a:gd name="connsiteY1-54" fmla="*/ 5825149 h 5827275"/>
              <a:gd name="connsiteX2-55" fmla="*/ 0 w 6575964"/>
              <a:gd name="connsiteY2-56" fmla="*/ 3287982 h 5827275"/>
              <a:gd name="connsiteX3-57" fmla="*/ 3287982 w 6575964"/>
              <a:gd name="connsiteY3-58" fmla="*/ 0 h 5827275"/>
              <a:gd name="connsiteX4-59" fmla="*/ 6575964 w 6575964"/>
              <a:gd name="connsiteY4-60" fmla="*/ 3287982 h 5827275"/>
              <a:gd name="connsiteX5-61" fmla="*/ 5379444 w 6575964"/>
              <a:gd name="connsiteY5-62" fmla="*/ 5825149 h 5827275"/>
              <a:gd name="connsiteX6-63" fmla="*/ 5376601 w 6575964"/>
              <a:gd name="connsiteY6-64" fmla="*/ 5827275 h 582727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575964" h="5827275">
                <a:moveTo>
                  <a:pt x="1199364" y="5827275"/>
                </a:moveTo>
                <a:lnTo>
                  <a:pt x="1196521" y="5825149"/>
                </a:lnTo>
                <a:cubicBezTo>
                  <a:pt x="465776" y="5222085"/>
                  <a:pt x="0" y="4309427"/>
                  <a:pt x="0" y="3287982"/>
                </a:cubicBezTo>
                <a:cubicBezTo>
                  <a:pt x="0" y="1472080"/>
                  <a:pt x="1472080" y="0"/>
                  <a:pt x="3287982" y="0"/>
                </a:cubicBezTo>
                <a:cubicBezTo>
                  <a:pt x="5103884" y="0"/>
                  <a:pt x="6575964" y="1472080"/>
                  <a:pt x="6575964" y="3287982"/>
                </a:cubicBezTo>
                <a:cubicBezTo>
                  <a:pt x="6575964" y="4309427"/>
                  <a:pt x="6110189" y="5222085"/>
                  <a:pt x="5379444" y="5825149"/>
                </a:cubicBezTo>
                <a:lnTo>
                  <a:pt x="5376601" y="5827275"/>
                </a:lnTo>
              </a:path>
            </a:pathLst>
          </a:custGeom>
          <a:noFill/>
          <a:ln w="19050" cap="flat" cmpd="sng" algn="ctr">
            <a:solidFill>
              <a:schemeClr val="bg1">
                <a:lumMod val="75000"/>
              </a:schemeClr>
            </a:solidFill>
            <a:prstDash val="sysDash"/>
            <a:miter lim="800000"/>
          </a:ln>
          <a:effectLst/>
          <a:extLst>
            <a:ext uri="{909E8E84-426E-40DD-AFC4-6F175D3DCCD1}">
              <a14:hiddenFill xmlns:a14="http://schemas.microsoft.com/office/drawing/2010/main">
                <a:pattFill prst="ltUpDiag">
                  <a:fgClr>
                    <a:schemeClr val="bg1">
                      <a:lumMod val="95000"/>
                    </a:schemeClr>
                  </a:fgClr>
                  <a:bgClr>
                    <a:schemeClr val="bg1"/>
                  </a:bgClr>
                </a:patt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图片 3"/>
          <p:cNvPicPr>
            <a:picLocks noChangeAspect="1"/>
          </p:cNvPicPr>
          <p:nvPr userDrawn="1"/>
        </p:nvPicPr>
        <p:blipFill>
          <a:blip r:embed="rId3" cstate="email"/>
          <a:stretch>
            <a:fillRect/>
          </a:stretch>
        </p:blipFill>
        <p:spPr>
          <a:xfrm>
            <a:off x="-1" y="0"/>
            <a:ext cx="5592941" cy="5349240"/>
          </a:xfrm>
          <a:prstGeom prst="rect">
            <a:avLst/>
          </a:prstGeom>
        </p:spPr>
      </p:pic>
      <p:grpSp>
        <p:nvGrpSpPr>
          <p:cNvPr id="74" name="组合 73"/>
          <p:cNvGrpSpPr/>
          <p:nvPr userDrawn="1"/>
        </p:nvGrpSpPr>
        <p:grpSpPr>
          <a:xfrm>
            <a:off x="5271326" y="5899132"/>
            <a:ext cx="1413226" cy="480332"/>
            <a:chOff x="1398368" y="5051425"/>
            <a:chExt cx="3242941" cy="1102222"/>
          </a:xfrm>
          <a:solidFill>
            <a:schemeClr val="accent1"/>
          </a:solidFill>
        </p:grpSpPr>
        <p:sp>
          <p:nvSpPr>
            <p:cNvPr id="7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78" name="组合 77"/>
            <p:cNvGrpSpPr/>
            <p:nvPr/>
          </p:nvGrpSpPr>
          <p:grpSpPr>
            <a:xfrm>
              <a:off x="2921957" y="5168150"/>
              <a:ext cx="542765" cy="642593"/>
              <a:chOff x="3102298" y="5183391"/>
              <a:chExt cx="501880" cy="594188"/>
            </a:xfrm>
            <a:grpFill/>
          </p:grpSpPr>
          <p:sp>
            <p:nvSpPr>
              <p:cNvPr id="164"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79" name="组合 78"/>
            <p:cNvGrpSpPr/>
            <p:nvPr/>
          </p:nvGrpSpPr>
          <p:grpSpPr>
            <a:xfrm>
              <a:off x="4196892" y="5154476"/>
              <a:ext cx="444417" cy="649987"/>
              <a:chOff x="4257853" y="5169716"/>
              <a:chExt cx="410940" cy="601025"/>
            </a:xfrm>
            <a:grpFill/>
          </p:grpSpPr>
          <p:sp>
            <p:nvSpPr>
              <p:cNvPr id="11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9"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8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5" name="图片 4"/>
          <p:cNvPicPr>
            <a:picLocks noChangeAspect="1"/>
          </p:cNvPicPr>
          <p:nvPr userDrawn="1"/>
        </p:nvPicPr>
        <p:blipFill>
          <a:blip r:embed="rId4" cstate="email"/>
          <a:stretch>
            <a:fillRect/>
          </a:stretch>
        </p:blipFill>
        <p:spPr>
          <a:xfrm>
            <a:off x="7360919" y="0"/>
            <a:ext cx="4834128" cy="554736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过渡页4-1">
    <p:spTree>
      <p:nvGrpSpPr>
        <p:cNvPr id="1" name=""/>
        <p:cNvGrpSpPr/>
        <p:nvPr/>
      </p:nvGrpSpPr>
      <p:grpSpPr>
        <a:xfrm>
          <a:off x="0" y="0"/>
          <a:ext cx="0" cy="0"/>
          <a:chOff x="0" y="0"/>
          <a:chExt cx="0" cy="0"/>
        </a:xfrm>
      </p:grpSpPr>
      <p:sp>
        <p:nvSpPr>
          <p:cNvPr id="63" name="任意多边形: 形状 62"/>
          <p:cNvSpPr/>
          <p:nvPr userDrawn="1"/>
        </p:nvSpPr>
        <p:spPr>
          <a:xfrm>
            <a:off x="2388506" y="610"/>
            <a:ext cx="7595429" cy="1919631"/>
          </a:xfrm>
          <a:custGeom>
            <a:avLst/>
            <a:gdLst>
              <a:gd name="connsiteX0" fmla="*/ 0 w 7595429"/>
              <a:gd name="connsiteY0" fmla="*/ 0 h 1919631"/>
              <a:gd name="connsiteX1" fmla="*/ 7595429 w 7595429"/>
              <a:gd name="connsiteY1" fmla="*/ 0 h 1919631"/>
              <a:gd name="connsiteX2" fmla="*/ 7578492 w 7595429"/>
              <a:gd name="connsiteY2" fmla="*/ 21265 h 1919631"/>
              <a:gd name="connsiteX3" fmla="*/ 3786149 w 7595429"/>
              <a:gd name="connsiteY3" fmla="*/ 1919631 h 1919631"/>
              <a:gd name="connsiteX4" fmla="*/ 47793 w 7595429"/>
              <a:gd name="connsiteY4" fmla="*/ 52708 h 1919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5429" h="1919631">
                <a:moveTo>
                  <a:pt x="0" y="0"/>
                </a:moveTo>
                <a:lnTo>
                  <a:pt x="7595429" y="0"/>
                </a:lnTo>
                <a:lnTo>
                  <a:pt x="7578492" y="21265"/>
                </a:lnTo>
                <a:cubicBezTo>
                  <a:pt x="7169895" y="514635"/>
                  <a:pt x="5600779" y="1919631"/>
                  <a:pt x="3786149" y="1919631"/>
                </a:cubicBezTo>
                <a:cubicBezTo>
                  <a:pt x="2038728" y="1919631"/>
                  <a:pt x="525830" y="568764"/>
                  <a:pt x="47793" y="52708"/>
                </a:cubicBezTo>
                <a:close/>
              </a:path>
            </a:pathLst>
          </a:custGeom>
          <a:solidFill>
            <a:schemeClr val="bg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rgbClr val="E71C57"/>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文本占位符 4"/>
          <p:cNvSpPr>
            <a:spLocks noGrp="1"/>
          </p:cNvSpPr>
          <p:nvPr>
            <p:ph type="body" sz="quarter" idx="12" hasCustomPrompt="1"/>
          </p:nvPr>
        </p:nvSpPr>
        <p:spPr>
          <a:xfrm>
            <a:off x="4954993" y="140928"/>
            <a:ext cx="2282014" cy="2646878"/>
          </a:xfrm>
          <a:noFill/>
        </p:spPr>
        <p:txBody>
          <a:bodyPr vert="horz" wrap="none" lIns="0" tIns="45720" rIns="0" bIns="45720" rtlCol="0" anchor="ctr">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17000">
                      <a:schemeClr val="accent1"/>
                    </a:gs>
                    <a:gs pos="58000">
                      <a:schemeClr val="accent1">
                        <a:lumMod val="75000"/>
                        <a:alpha val="55000"/>
                      </a:schemeClr>
                    </a:gs>
                    <a:gs pos="72000">
                      <a:schemeClr val="accent1">
                        <a:lumMod val="75000"/>
                        <a:alpha val="0"/>
                      </a:schemeClr>
                    </a:gs>
                  </a:gsLst>
                  <a:lin ang="5400000" scaled="1"/>
                </a:gradFill>
                <a:latin typeface="Impact" panose="020B0806030902050204" pitchFamily="34" charset="0"/>
              </a:defRPr>
            </a:lvl1pPr>
          </a:lstStyle>
          <a:p>
            <a:pPr lvl="0" algn="ctr" defTabSz="457200">
              <a:lnSpc>
                <a:spcPct val="100000"/>
              </a:lnSpc>
              <a:spcBef>
                <a:spcPts val="0"/>
              </a:spcBef>
            </a:pPr>
            <a:r>
              <a:rPr lang="en-US" altLang="zh-CN" dirty="0"/>
              <a:t>01</a:t>
            </a:r>
          </a:p>
        </p:txBody>
      </p:sp>
      <p:pic>
        <p:nvPicPr>
          <p:cNvPr id="67" name="图片 66"/>
          <p:cNvPicPr>
            <a:picLocks noChangeAspect="1"/>
          </p:cNvPicPr>
          <p:nvPr userDrawn="1"/>
        </p:nvPicPr>
        <p:blipFill>
          <a:blip r:embed="rId2" cstate="email"/>
          <a:srcRect/>
          <a:stretch>
            <a:fillRect/>
          </a:stretch>
        </p:blipFill>
        <p:spPr>
          <a:xfrm>
            <a:off x="0" y="609"/>
            <a:ext cx="12192000" cy="6856781"/>
          </a:xfrm>
          <a:custGeom>
            <a:avLst/>
            <a:gdLst>
              <a:gd name="connsiteX0" fmla="*/ 0 w 12192000"/>
              <a:gd name="connsiteY0" fmla="*/ 0 h 6856781"/>
              <a:gd name="connsiteX1" fmla="*/ 2388506 w 12192000"/>
              <a:gd name="connsiteY1" fmla="*/ 0 h 6856781"/>
              <a:gd name="connsiteX2" fmla="*/ 2436299 w 12192000"/>
              <a:gd name="connsiteY2" fmla="*/ 52708 h 6856781"/>
              <a:gd name="connsiteX3" fmla="*/ 6174655 w 12192000"/>
              <a:gd name="connsiteY3" fmla="*/ 1919631 h 6856781"/>
              <a:gd name="connsiteX4" fmla="*/ 9966998 w 12192000"/>
              <a:gd name="connsiteY4" fmla="*/ 21265 h 6856781"/>
              <a:gd name="connsiteX5" fmla="*/ 9983935 w 12192000"/>
              <a:gd name="connsiteY5" fmla="*/ 0 h 6856781"/>
              <a:gd name="connsiteX6" fmla="*/ 12192000 w 12192000"/>
              <a:gd name="connsiteY6" fmla="*/ 0 h 6856781"/>
              <a:gd name="connsiteX7" fmla="*/ 12192000 w 12192000"/>
              <a:gd name="connsiteY7" fmla="*/ 6856781 h 6856781"/>
              <a:gd name="connsiteX8" fmla="*/ 0 w 12192000"/>
              <a:gd name="connsiteY8" fmla="*/ 6856781 h 685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6781">
                <a:moveTo>
                  <a:pt x="0" y="0"/>
                </a:moveTo>
                <a:lnTo>
                  <a:pt x="2388506" y="0"/>
                </a:lnTo>
                <a:lnTo>
                  <a:pt x="2436299" y="52708"/>
                </a:lnTo>
                <a:cubicBezTo>
                  <a:pt x="2914336" y="568764"/>
                  <a:pt x="4427234" y="1919631"/>
                  <a:pt x="6174655" y="1919631"/>
                </a:cubicBezTo>
                <a:cubicBezTo>
                  <a:pt x="7989285" y="1919631"/>
                  <a:pt x="9558401" y="514635"/>
                  <a:pt x="9966998" y="21265"/>
                </a:cubicBezTo>
                <a:lnTo>
                  <a:pt x="9983935" y="0"/>
                </a:lnTo>
                <a:lnTo>
                  <a:pt x="12192000" y="0"/>
                </a:lnTo>
                <a:lnTo>
                  <a:pt x="12192000" y="6856781"/>
                </a:lnTo>
                <a:lnTo>
                  <a:pt x="0" y="6856781"/>
                </a:lnTo>
                <a:close/>
              </a:path>
            </a:pathLst>
          </a:custGeom>
        </p:spPr>
      </p:pic>
      <p:grpSp>
        <p:nvGrpSpPr>
          <p:cNvPr id="68" name="组合 67"/>
          <p:cNvGrpSpPr/>
          <p:nvPr userDrawn="1"/>
        </p:nvGrpSpPr>
        <p:grpSpPr>
          <a:xfrm>
            <a:off x="5536896" y="6255328"/>
            <a:ext cx="1118208" cy="380060"/>
            <a:chOff x="1398368" y="5051425"/>
            <a:chExt cx="3242941" cy="1102222"/>
          </a:xfrm>
          <a:solidFill>
            <a:schemeClr val="bg1"/>
          </a:solidFill>
        </p:grpSpPr>
        <p:sp>
          <p:nvSpPr>
            <p:cNvPr id="69"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72" name="组合 71"/>
            <p:cNvGrpSpPr/>
            <p:nvPr/>
          </p:nvGrpSpPr>
          <p:grpSpPr>
            <a:xfrm>
              <a:off x="2921957" y="5168150"/>
              <a:ext cx="542765" cy="642593"/>
              <a:chOff x="3102298" y="5183391"/>
              <a:chExt cx="501880" cy="594188"/>
            </a:xfrm>
            <a:grpFill/>
          </p:grpSpPr>
          <p:sp>
            <p:nvSpPr>
              <p:cNvPr id="114"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5"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73" name="组合 72"/>
            <p:cNvGrpSpPr/>
            <p:nvPr/>
          </p:nvGrpSpPr>
          <p:grpSpPr>
            <a:xfrm>
              <a:off x="4196892" y="5154476"/>
              <a:ext cx="444417" cy="649987"/>
              <a:chOff x="4257853" y="5169716"/>
              <a:chExt cx="410940" cy="601025"/>
            </a:xfrm>
            <a:grpFill/>
          </p:grpSpPr>
          <p:sp>
            <p:nvSpPr>
              <p:cNvPr id="108"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4"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120" name="直接连接符 119"/>
          <p:cNvCxnSpPr/>
          <p:nvPr userDrawn="1"/>
        </p:nvCxnSpPr>
        <p:spPr>
          <a:xfrm>
            <a:off x="2049780" y="5551166"/>
            <a:ext cx="8092440" cy="0"/>
          </a:xfrm>
          <a:prstGeom prst="line">
            <a:avLst/>
          </a:prstGeom>
          <a:ln>
            <a:solidFill>
              <a:schemeClr val="accent6"/>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1" name="标题 1"/>
          <p:cNvSpPr>
            <a:spLocks noGrp="1"/>
          </p:cNvSpPr>
          <p:nvPr>
            <p:ph type="ctrTitle"/>
          </p:nvPr>
        </p:nvSpPr>
        <p:spPr>
          <a:xfrm>
            <a:off x="2723908" y="2757325"/>
            <a:ext cx="6744184" cy="923330"/>
          </a:xfrm>
          <a:solidFill>
            <a:schemeClr val="bg1"/>
          </a:solidFill>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sp>
        <p:nvSpPr>
          <p:cNvPr id="62" name="副标题 2"/>
          <p:cNvSpPr>
            <a:spLocks noGrp="1"/>
          </p:cNvSpPr>
          <p:nvPr>
            <p:ph type="subTitle" idx="1"/>
          </p:nvPr>
        </p:nvSpPr>
        <p:spPr>
          <a:xfrm>
            <a:off x="2723908" y="3701199"/>
            <a:ext cx="6744184" cy="331948"/>
          </a:xfrm>
          <a:solidFill>
            <a:schemeClr val="bg1"/>
          </a:solidFill>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过渡页5-1">
    <p:spTree>
      <p:nvGrpSpPr>
        <p:cNvPr id="1" name=""/>
        <p:cNvGrpSpPr/>
        <p:nvPr/>
      </p:nvGrpSpPr>
      <p:grpSpPr>
        <a:xfrm>
          <a:off x="0" y="0"/>
          <a:ext cx="0" cy="0"/>
          <a:chOff x="0" y="0"/>
          <a:chExt cx="0" cy="0"/>
        </a:xfrm>
      </p:grpSpPr>
      <p:pic>
        <p:nvPicPr>
          <p:cNvPr id="67" name="图片 66"/>
          <p:cNvPicPr>
            <a:picLocks noChangeAspect="1"/>
          </p:cNvPicPr>
          <p:nvPr userDrawn="1"/>
        </p:nvPicPr>
        <p:blipFill rotWithShape="1">
          <a:blip r:embed="rId2" cstate="email"/>
          <a:srcRect/>
          <a:stretch>
            <a:fillRect/>
          </a:stretch>
        </p:blipFill>
        <p:spPr>
          <a:xfrm>
            <a:off x="0" y="0"/>
            <a:ext cx="12192000" cy="6858000"/>
          </a:xfrm>
          <a:prstGeom prst="rect">
            <a:avLst/>
          </a:prstGeom>
        </p:spPr>
      </p:pic>
      <p:grpSp>
        <p:nvGrpSpPr>
          <p:cNvPr id="62" name="组合 61"/>
          <p:cNvGrpSpPr/>
          <p:nvPr userDrawn="1"/>
        </p:nvGrpSpPr>
        <p:grpSpPr>
          <a:xfrm>
            <a:off x="2743490" y="194553"/>
            <a:ext cx="6468898" cy="6468896"/>
            <a:chOff x="2551832" y="5787"/>
            <a:chExt cx="6852213" cy="6852213"/>
          </a:xfrm>
        </p:grpSpPr>
        <p:sp>
          <p:nvSpPr>
            <p:cNvPr id="64" name="椭圆 63"/>
            <p:cNvSpPr/>
            <p:nvPr/>
          </p:nvSpPr>
          <p:spPr>
            <a:xfrm>
              <a:off x="2551832" y="5787"/>
              <a:ext cx="6852213" cy="6852213"/>
            </a:xfrm>
            <a:prstGeom prst="ellipse">
              <a:avLst/>
            </a:prstGeom>
            <a:pattFill prst="ltUpDiag">
              <a:fgClr>
                <a:schemeClr val="bg1">
                  <a:lumMod val="95000"/>
                </a:schemeClr>
              </a:fgClr>
              <a:bgClr>
                <a:schemeClr val="bg1"/>
              </a:bgClr>
            </a:pattFill>
            <a:ln w="76200" cap="flat" cmpd="thickThin"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椭圆 64"/>
            <p:cNvSpPr/>
            <p:nvPr/>
          </p:nvSpPr>
          <p:spPr>
            <a:xfrm>
              <a:off x="2689956" y="143911"/>
              <a:ext cx="6575964" cy="6575964"/>
            </a:xfrm>
            <a:prstGeom prst="ellipse">
              <a:avLst/>
            </a:prstGeom>
            <a:noFill/>
            <a:ln w="19050" cap="flat" cmpd="sng" algn="ctr">
              <a:solidFill>
                <a:schemeClr val="bg1">
                  <a:lumMod val="75000"/>
                </a:schemeClr>
              </a:solidFill>
              <a:prstDash val="sysDash"/>
              <a:miter lim="800000"/>
            </a:ln>
            <a:effectLst/>
            <a:extLst>
              <a:ext uri="{909E8E84-426E-40DD-AFC4-6F175D3DCCD1}">
                <a14:hiddenFill xmlns:a14="http://schemas.microsoft.com/office/drawing/2010/main">
                  <a:pattFill prst="ltUpDiag">
                    <a:fgClr>
                      <a:schemeClr val="bg1">
                        <a:lumMod val="95000"/>
                      </a:schemeClr>
                    </a:fgClr>
                    <a:bgClr>
                      <a:schemeClr val="bg1"/>
                    </a:bgClr>
                  </a:patt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6" name="副标题 2"/>
          <p:cNvSpPr>
            <a:spLocks noGrp="1"/>
          </p:cNvSpPr>
          <p:nvPr>
            <p:ph type="subTitle" idx="1"/>
          </p:nvPr>
        </p:nvSpPr>
        <p:spPr>
          <a:xfrm>
            <a:off x="3016158" y="4202383"/>
            <a:ext cx="5923562" cy="331948"/>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57" name="标题 1"/>
          <p:cNvSpPr>
            <a:spLocks noGrp="1"/>
          </p:cNvSpPr>
          <p:nvPr>
            <p:ph type="ctrTitle"/>
          </p:nvPr>
        </p:nvSpPr>
        <p:spPr>
          <a:xfrm>
            <a:off x="2872837" y="3270084"/>
            <a:ext cx="6210204" cy="923330"/>
          </a:xfrm>
        </p:spPr>
        <p:txBody>
          <a:bodyPr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117" name="直接连接符 116"/>
          <p:cNvCxnSpPr/>
          <p:nvPr userDrawn="1"/>
        </p:nvCxnSpPr>
        <p:spPr>
          <a:xfrm>
            <a:off x="3726575" y="4801512"/>
            <a:ext cx="4502727"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3" name="文本占位符 4"/>
          <p:cNvSpPr>
            <a:spLocks noGrp="1"/>
          </p:cNvSpPr>
          <p:nvPr>
            <p:ph type="body" sz="quarter" idx="13" hasCustomPrompt="1"/>
          </p:nvPr>
        </p:nvSpPr>
        <p:spPr>
          <a:xfrm>
            <a:off x="4836932" y="1142999"/>
            <a:ext cx="2282014" cy="2000179"/>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119" name="直接连接符 118"/>
          <p:cNvCxnSpPr/>
          <p:nvPr userDrawn="1"/>
        </p:nvCxnSpPr>
        <p:spPr>
          <a:xfrm>
            <a:off x="5494041" y="3175193"/>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121" name="组合 120"/>
          <p:cNvGrpSpPr/>
          <p:nvPr userDrawn="1"/>
        </p:nvGrpSpPr>
        <p:grpSpPr>
          <a:xfrm>
            <a:off x="5271326" y="5012318"/>
            <a:ext cx="1413226" cy="480332"/>
            <a:chOff x="1398368" y="5051425"/>
            <a:chExt cx="3242941" cy="1102222"/>
          </a:xfrm>
          <a:solidFill>
            <a:schemeClr val="accent1"/>
          </a:solidFill>
        </p:grpSpPr>
        <p:sp>
          <p:nvSpPr>
            <p:cNvPr id="12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25" name="组合 124"/>
            <p:cNvGrpSpPr/>
            <p:nvPr/>
          </p:nvGrpSpPr>
          <p:grpSpPr>
            <a:xfrm>
              <a:off x="2921957" y="5168150"/>
              <a:ext cx="542765" cy="642593"/>
              <a:chOff x="3102298" y="5183391"/>
              <a:chExt cx="501880" cy="594188"/>
            </a:xfrm>
            <a:grpFill/>
          </p:grpSpPr>
          <p:sp>
            <p:nvSpPr>
              <p:cNvPr id="16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6" name="组合 125"/>
            <p:cNvGrpSpPr/>
            <p:nvPr/>
          </p:nvGrpSpPr>
          <p:grpSpPr>
            <a:xfrm>
              <a:off x="4196892" y="5154476"/>
              <a:ext cx="444417" cy="649987"/>
              <a:chOff x="4257853" y="5169716"/>
              <a:chExt cx="410940" cy="601025"/>
            </a:xfrm>
            <a:grpFill/>
          </p:grpSpPr>
          <p:sp>
            <p:nvSpPr>
              <p:cNvPr id="16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封底1-1">
    <p:spTree>
      <p:nvGrpSpPr>
        <p:cNvPr id="1" name=""/>
        <p:cNvGrpSpPr/>
        <p:nvPr/>
      </p:nvGrpSpPr>
      <p:grpSpPr>
        <a:xfrm>
          <a:off x="0" y="0"/>
          <a:ext cx="0" cy="0"/>
          <a:chOff x="0" y="0"/>
          <a:chExt cx="0" cy="0"/>
        </a:xfrm>
      </p:grpSpPr>
      <p:pic>
        <p:nvPicPr>
          <p:cNvPr id="74" name="图片 73"/>
          <p:cNvPicPr>
            <a:picLocks noChangeAspect="1"/>
          </p:cNvPicPr>
          <p:nvPr userDrawn="1"/>
        </p:nvPicPr>
        <p:blipFill rotWithShape="1">
          <a:blip r:embed="rId2" cstate="email"/>
          <a:srcRect/>
          <a:stretch>
            <a:fillRect/>
          </a:stretch>
        </p:blipFill>
        <p:spPr>
          <a:xfrm>
            <a:off x="902176" y="675314"/>
            <a:ext cx="10424160" cy="5507366"/>
          </a:xfrm>
          <a:prstGeom prst="rect">
            <a:avLst/>
          </a:prstGeom>
          <a:effectLst>
            <a:outerShdw blurRad="50800" dist="38100" dir="2700000" algn="tl" rotWithShape="0">
              <a:prstClr val="black">
                <a:alpha val="40000"/>
              </a:prstClr>
            </a:outerShdw>
          </a:effectLst>
        </p:spPr>
      </p:pic>
      <p:sp>
        <p:nvSpPr>
          <p:cNvPr id="64" name="任意多边形: 形状 63"/>
          <p:cNvSpPr/>
          <p:nvPr userDrawn="1"/>
        </p:nvSpPr>
        <p:spPr>
          <a:xfrm flipV="1">
            <a:off x="515938" y="1546857"/>
            <a:ext cx="11196637" cy="3764281"/>
          </a:xfrm>
          <a:custGeom>
            <a:avLst/>
            <a:gdLst>
              <a:gd name="connsiteX0" fmla="*/ 0 w 11883342"/>
              <a:gd name="connsiteY0" fmla="*/ 3764281 h 3764281"/>
              <a:gd name="connsiteX1" fmla="*/ 11883342 w 11883342"/>
              <a:gd name="connsiteY1" fmla="*/ 3764281 h 3764281"/>
              <a:gd name="connsiteX2" fmla="*/ 11883342 w 11883342"/>
              <a:gd name="connsiteY2" fmla="*/ 2064030 h 3764281"/>
              <a:gd name="connsiteX3" fmla="*/ 11689634 w 11883342"/>
              <a:gd name="connsiteY3" fmla="*/ 1882140 h 3764281"/>
              <a:gd name="connsiteX4" fmla="*/ 11883342 w 11883342"/>
              <a:gd name="connsiteY4" fmla="*/ 1700251 h 3764281"/>
              <a:gd name="connsiteX5" fmla="*/ 11883342 w 11883342"/>
              <a:gd name="connsiteY5" fmla="*/ 0 h 3764281"/>
              <a:gd name="connsiteX6" fmla="*/ 0 w 11883342"/>
              <a:gd name="connsiteY6" fmla="*/ 0 h 3764281"/>
              <a:gd name="connsiteX7" fmla="*/ 0 w 11883342"/>
              <a:gd name="connsiteY7" fmla="*/ 1700251 h 3764281"/>
              <a:gd name="connsiteX8" fmla="*/ 193708 w 11883342"/>
              <a:gd name="connsiteY8" fmla="*/ 1882140 h 3764281"/>
              <a:gd name="connsiteX9" fmla="*/ 0 w 11883342"/>
              <a:gd name="connsiteY9" fmla="*/ 2064030 h 376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3342" h="3764281">
                <a:moveTo>
                  <a:pt x="0" y="3764281"/>
                </a:moveTo>
                <a:lnTo>
                  <a:pt x="11883342" y="3764281"/>
                </a:lnTo>
                <a:lnTo>
                  <a:pt x="11883342" y="2064030"/>
                </a:lnTo>
                <a:lnTo>
                  <a:pt x="11689634" y="1882140"/>
                </a:lnTo>
                <a:lnTo>
                  <a:pt x="11883342" y="1700251"/>
                </a:lnTo>
                <a:lnTo>
                  <a:pt x="11883342" y="0"/>
                </a:lnTo>
                <a:lnTo>
                  <a:pt x="0" y="0"/>
                </a:lnTo>
                <a:lnTo>
                  <a:pt x="0" y="1700251"/>
                </a:lnTo>
                <a:lnTo>
                  <a:pt x="193708" y="1882140"/>
                </a:lnTo>
                <a:lnTo>
                  <a:pt x="0" y="2064030"/>
                </a:lnTo>
                <a:close/>
              </a:path>
            </a:pathLst>
          </a:cu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245505" y="2268921"/>
            <a:ext cx="7737502" cy="923330"/>
          </a:xfrm>
          <a:noFill/>
        </p:spPr>
        <p:txBody>
          <a:bodyPr wrap="square" lIns="0" rIns="0" rtlCol="0" anchor="ctr">
            <a:noAutofit/>
          </a:bodyPr>
          <a:lstStyle>
            <a:lvl1pPr algn="ctr">
              <a:defRPr lang="en-US" sz="5400" b="1" spc="600" dirty="0">
                <a:solidFill>
                  <a:schemeClr val="bg1"/>
                </a:solidFill>
                <a:effectLst>
                  <a:outerShdw blurRad="38100" dist="38100" dir="2700000" algn="tl">
                    <a:srgbClr val="000000">
                      <a:alpha val="43137"/>
                    </a:srgbClr>
                  </a:outerShdw>
                </a:effectLst>
                <a:latin typeface="+mn-lt"/>
                <a:ea typeface="+mn-ea"/>
                <a:cs typeface="+mn-cs"/>
              </a:defRPr>
            </a:lvl1pPr>
          </a:lstStyle>
          <a:p>
            <a:pPr marL="0" lvl="0" algn="dist" defTabSz="457200"/>
            <a:endParaRPr lang="en-US" dirty="0"/>
          </a:p>
        </p:txBody>
      </p:sp>
      <p:sp>
        <p:nvSpPr>
          <p:cNvPr id="71" name="矩形 70"/>
          <p:cNvSpPr/>
          <p:nvPr userDrawn="1"/>
        </p:nvSpPr>
        <p:spPr>
          <a:xfrm>
            <a:off x="2245505" y="3700797"/>
            <a:ext cx="7737502" cy="36000"/>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内容占位符 123"/>
          <p:cNvSpPr>
            <a:spLocks noGrp="1"/>
          </p:cNvSpPr>
          <p:nvPr>
            <p:ph sz="quarter" idx="12" hasCustomPrompt="1"/>
          </p:nvPr>
        </p:nvSpPr>
        <p:spPr>
          <a:xfrm>
            <a:off x="3333483"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sp>
        <p:nvSpPr>
          <p:cNvPr id="59" name="内容占位符 4"/>
          <p:cNvSpPr>
            <a:spLocks noGrp="1"/>
          </p:cNvSpPr>
          <p:nvPr>
            <p:ph sz="quarter" idx="11" hasCustomPrompt="1"/>
          </p:nvPr>
        </p:nvSpPr>
        <p:spPr>
          <a:xfrm>
            <a:off x="6261051"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cxnSp>
        <p:nvCxnSpPr>
          <p:cNvPr id="60" name="直接连接符 59"/>
          <p:cNvCxnSpPr/>
          <p:nvPr userDrawn="1"/>
        </p:nvCxnSpPr>
        <p:spPr>
          <a:xfrm>
            <a:off x="6102495" y="4251261"/>
            <a:ext cx="0" cy="29464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1" name="组合 60"/>
          <p:cNvGrpSpPr/>
          <p:nvPr userDrawn="1"/>
        </p:nvGrpSpPr>
        <p:grpSpPr>
          <a:xfrm>
            <a:off x="5496925" y="987154"/>
            <a:ext cx="1234662" cy="419641"/>
            <a:chOff x="1398368" y="5051425"/>
            <a:chExt cx="3242941" cy="1102222"/>
          </a:xfrm>
        </p:grpSpPr>
        <p:sp>
          <p:nvSpPr>
            <p:cNvPr id="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7" name="组合 66"/>
            <p:cNvGrpSpPr/>
            <p:nvPr/>
          </p:nvGrpSpPr>
          <p:grpSpPr>
            <a:xfrm>
              <a:off x="2921957" y="5168150"/>
              <a:ext cx="542765" cy="642593"/>
              <a:chOff x="3102298" y="5183391"/>
              <a:chExt cx="501880" cy="594188"/>
            </a:xfrm>
          </p:grpSpPr>
          <p:sp>
            <p:nvSpPr>
              <p:cNvPr id="155"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8" name="组合 67"/>
            <p:cNvGrpSpPr/>
            <p:nvPr/>
          </p:nvGrpSpPr>
          <p:grpSpPr>
            <a:xfrm>
              <a:off x="4196892" y="5154476"/>
              <a:ext cx="444417" cy="649987"/>
              <a:chOff x="4257853" y="5169716"/>
              <a:chExt cx="410940" cy="601025"/>
            </a:xfrm>
          </p:grpSpPr>
          <p:sp>
            <p:nvSpPr>
              <p:cNvPr id="150"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9"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8"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2" name="文本占位符 5"/>
          <p:cNvSpPr>
            <a:spLocks noGrp="1"/>
          </p:cNvSpPr>
          <p:nvPr>
            <p:ph type="body" sz="quarter" idx="13"/>
          </p:nvPr>
        </p:nvSpPr>
        <p:spPr>
          <a:xfrm>
            <a:off x="2245505" y="3166032"/>
            <a:ext cx="7737502" cy="400110"/>
          </a:xfrm>
        </p:spPr>
        <p:txBody>
          <a:bodyPr lIns="0" tIns="0" rIns="0" bIns="0" anchor="ctr"/>
          <a:lstStyle>
            <a:lvl1pPr algn="ctr">
              <a:defRPr sz="1800" b="0" spc="300">
                <a:solidFill>
                  <a:schemeClr val="bg1"/>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封底2-1">
    <p:spTree>
      <p:nvGrpSpPr>
        <p:cNvPr id="1" name=""/>
        <p:cNvGrpSpPr/>
        <p:nvPr/>
      </p:nvGrpSpPr>
      <p:grpSpPr>
        <a:xfrm>
          <a:off x="0" y="0"/>
          <a:ext cx="0" cy="0"/>
          <a:chOff x="0" y="0"/>
          <a:chExt cx="0" cy="0"/>
        </a:xfrm>
      </p:grpSpPr>
      <p:pic>
        <p:nvPicPr>
          <p:cNvPr id="68" name="图片 67"/>
          <p:cNvPicPr>
            <a:picLocks noChangeAspect="1"/>
          </p:cNvPicPr>
          <p:nvPr userDrawn="1"/>
        </p:nvPicPr>
        <p:blipFill rotWithShape="1">
          <a:blip r:embed="rId2" cstate="email"/>
          <a:srcRect/>
          <a:stretch>
            <a:fillRect/>
          </a:stretch>
        </p:blipFill>
        <p:spPr>
          <a:xfrm>
            <a:off x="0" y="1834588"/>
            <a:ext cx="12192000" cy="3188826"/>
          </a:xfrm>
          <a:prstGeom prst="rect">
            <a:avLst/>
          </a:prstGeom>
          <a:effectLst/>
        </p:spPr>
      </p:pic>
      <p:sp>
        <p:nvSpPr>
          <p:cNvPr id="59" name="矩形 58"/>
          <p:cNvSpPr/>
          <p:nvPr userDrawn="1"/>
        </p:nvSpPr>
        <p:spPr>
          <a:xfrm flipV="1">
            <a:off x="1080304" y="1546859"/>
            <a:ext cx="10031392" cy="3764281"/>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直角三角形 165"/>
          <p:cNvSpPr/>
          <p:nvPr userDrawn="1"/>
        </p:nvSpPr>
        <p:spPr>
          <a:xfrm>
            <a:off x="11111696" y="1546859"/>
            <a:ext cx="300942" cy="293516"/>
          </a:xfrm>
          <a:prstGeom prst="r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直角三角形 166"/>
          <p:cNvSpPr/>
          <p:nvPr userDrawn="1"/>
        </p:nvSpPr>
        <p:spPr>
          <a:xfrm flipH="1">
            <a:off x="779362" y="1546859"/>
            <a:ext cx="300942" cy="293516"/>
          </a:xfrm>
          <a:prstGeom prst="r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矩形 167"/>
          <p:cNvSpPr/>
          <p:nvPr userDrawn="1"/>
        </p:nvSpPr>
        <p:spPr>
          <a:xfrm>
            <a:off x="0" y="6721789"/>
            <a:ext cx="12192000" cy="136211"/>
          </a:xfrm>
          <a:prstGeom prst="rect">
            <a:avLst/>
          </a:prstGeom>
          <a:solidFill>
            <a:schemeClr val="tx1">
              <a:lumMod val="65000"/>
              <a:lumOff val="3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文本框 168"/>
          <p:cNvSpPr txBox="1"/>
          <p:nvPr userDrawn="1"/>
        </p:nvSpPr>
        <p:spPr>
          <a:xfrm>
            <a:off x="2383177" y="5808390"/>
            <a:ext cx="7425647" cy="369332"/>
          </a:xfrm>
          <a:prstGeom prst="rect">
            <a:avLst/>
          </a:prstGeom>
          <a:noFill/>
        </p:spPr>
        <p:txBody>
          <a:bodyPr wrap="square" lIns="0" tIns="0" rIns="0" bIns="0" rtlCol="0" anchor="ctr">
            <a:spAutoFit/>
          </a:bodyPr>
          <a:lstStyle/>
          <a:p>
            <a:pPr algn="dist"/>
            <a:r>
              <a:rPr lang="zh-CN" altLang="en-US" sz="2400" b="1" dirty="0">
                <a:solidFill>
                  <a:schemeClr val="bg1">
                    <a:lumMod val="75000"/>
                  </a:schemeClr>
                </a:solidFill>
              </a:rPr>
              <a:t>思源 责任 青春 奉献</a:t>
            </a:r>
            <a:endParaRPr lang="en-US" sz="2400" b="1" dirty="0">
              <a:solidFill>
                <a:schemeClr val="bg1">
                  <a:lumMod val="75000"/>
                </a:schemeClr>
              </a:solidFill>
            </a:endParaRPr>
          </a:p>
        </p:txBody>
      </p:sp>
      <p:grpSp>
        <p:nvGrpSpPr>
          <p:cNvPr id="65" name="组合 64"/>
          <p:cNvGrpSpPr/>
          <p:nvPr userDrawn="1"/>
        </p:nvGrpSpPr>
        <p:grpSpPr>
          <a:xfrm>
            <a:off x="5478669" y="446123"/>
            <a:ext cx="1234662" cy="419641"/>
            <a:chOff x="1398368" y="5051425"/>
            <a:chExt cx="3242941" cy="1102222"/>
          </a:xfrm>
        </p:grpSpPr>
        <p:sp>
          <p:nvSpPr>
            <p:cNvPr id="66"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9"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71" name="组合 70"/>
            <p:cNvGrpSpPr/>
            <p:nvPr/>
          </p:nvGrpSpPr>
          <p:grpSpPr>
            <a:xfrm>
              <a:off x="2921957" y="5168150"/>
              <a:ext cx="542765" cy="642593"/>
              <a:chOff x="3102298" y="5183391"/>
              <a:chExt cx="501880" cy="594188"/>
            </a:xfrm>
          </p:grpSpPr>
          <p:sp>
            <p:nvSpPr>
              <p:cNvPr id="114"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5"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72" name="组合 71"/>
            <p:cNvGrpSpPr/>
            <p:nvPr/>
          </p:nvGrpSpPr>
          <p:grpSpPr>
            <a:xfrm>
              <a:off x="4196892" y="5154476"/>
              <a:ext cx="444417" cy="649987"/>
              <a:chOff x="4257853" y="5169716"/>
              <a:chExt cx="410940" cy="601025"/>
            </a:xfrm>
          </p:grpSpPr>
          <p:sp>
            <p:nvSpPr>
              <p:cNvPr id="107"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3"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标题 1"/>
          <p:cNvSpPr>
            <a:spLocks noGrp="1"/>
          </p:cNvSpPr>
          <p:nvPr>
            <p:ph type="ctrTitle"/>
          </p:nvPr>
        </p:nvSpPr>
        <p:spPr>
          <a:xfrm>
            <a:off x="2245505" y="2268921"/>
            <a:ext cx="7737502" cy="923330"/>
          </a:xfrm>
          <a:noFill/>
        </p:spPr>
        <p:txBody>
          <a:bodyPr wrap="square" lIns="0" rIns="0" rtlCol="0" anchor="ctr">
            <a:noAutofit/>
          </a:bodyPr>
          <a:lstStyle>
            <a:lvl1pPr algn="ctr">
              <a:defRPr lang="en-US" sz="5400" b="1" spc="600" dirty="0">
                <a:solidFill>
                  <a:schemeClr val="bg1"/>
                </a:solidFill>
                <a:effectLst>
                  <a:outerShdw blurRad="38100" dist="38100" dir="2700000" algn="tl">
                    <a:srgbClr val="000000">
                      <a:alpha val="43137"/>
                    </a:srgbClr>
                  </a:outerShdw>
                </a:effectLst>
                <a:latin typeface="+mn-lt"/>
                <a:ea typeface="+mn-ea"/>
                <a:cs typeface="+mn-cs"/>
              </a:defRPr>
            </a:lvl1pPr>
          </a:lstStyle>
          <a:p>
            <a:pPr marL="0" lvl="0" algn="dist" defTabSz="457200"/>
            <a:endParaRPr lang="en-US" dirty="0"/>
          </a:p>
        </p:txBody>
      </p:sp>
      <p:sp>
        <p:nvSpPr>
          <p:cNvPr id="62" name="文本占位符 5"/>
          <p:cNvSpPr>
            <a:spLocks noGrp="1"/>
          </p:cNvSpPr>
          <p:nvPr>
            <p:ph type="body" sz="quarter" idx="13"/>
          </p:nvPr>
        </p:nvSpPr>
        <p:spPr>
          <a:xfrm>
            <a:off x="2245505" y="3166032"/>
            <a:ext cx="7737502" cy="400110"/>
          </a:xfrm>
        </p:spPr>
        <p:txBody>
          <a:bodyPr lIns="0" tIns="0" rIns="0" bIns="0" anchor="ctr"/>
          <a:lstStyle>
            <a:lvl1pPr algn="ctr">
              <a:defRPr sz="1800" b="0" spc="300">
                <a:solidFill>
                  <a:schemeClr val="bg1"/>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
        <p:nvSpPr>
          <p:cNvPr id="113" name="矩形 112"/>
          <p:cNvSpPr/>
          <p:nvPr userDrawn="1"/>
        </p:nvSpPr>
        <p:spPr>
          <a:xfrm>
            <a:off x="2245505" y="3700797"/>
            <a:ext cx="7737502" cy="36000"/>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内容占位符 4"/>
          <p:cNvSpPr>
            <a:spLocks noGrp="1"/>
          </p:cNvSpPr>
          <p:nvPr>
            <p:ph sz="quarter" idx="11" hasCustomPrompt="1"/>
          </p:nvPr>
        </p:nvSpPr>
        <p:spPr>
          <a:xfrm>
            <a:off x="3333483"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sp>
        <p:nvSpPr>
          <p:cNvPr id="117" name="内容占位符 123"/>
          <p:cNvSpPr>
            <a:spLocks noGrp="1"/>
          </p:cNvSpPr>
          <p:nvPr>
            <p:ph sz="quarter" idx="12" hasCustomPrompt="1"/>
          </p:nvPr>
        </p:nvSpPr>
        <p:spPr>
          <a:xfrm>
            <a:off x="6261051"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cxnSp>
        <p:nvCxnSpPr>
          <p:cNvPr id="119" name="直接连接符 118"/>
          <p:cNvCxnSpPr/>
          <p:nvPr userDrawn="1"/>
        </p:nvCxnSpPr>
        <p:spPr>
          <a:xfrm>
            <a:off x="6102495" y="4251261"/>
            <a:ext cx="0" cy="29464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封面1-2">
    <p:spTree>
      <p:nvGrpSpPr>
        <p:cNvPr id="1" name=""/>
        <p:cNvGrpSpPr/>
        <p:nvPr/>
      </p:nvGrpSpPr>
      <p:grpSpPr>
        <a:xfrm>
          <a:off x="0" y="0"/>
          <a:ext cx="0" cy="0"/>
          <a:chOff x="0" y="0"/>
          <a:chExt cx="0" cy="0"/>
        </a:xfrm>
      </p:grpSpPr>
      <p:sp>
        <p:nvSpPr>
          <p:cNvPr id="118" name="矩形 117"/>
          <p:cNvSpPr/>
          <p:nvPr userDrawn="1"/>
        </p:nvSpPr>
        <p:spPr>
          <a:xfrm>
            <a:off x="0" y="0"/>
            <a:ext cx="12192000" cy="4190035"/>
          </a:xfrm>
          <a:prstGeom prst="rect">
            <a:avLst/>
          </a:prstGeom>
          <a:gradFill flip="none" rotWithShape="1">
            <a:gsLst>
              <a:gs pos="0">
                <a:schemeClr val="bg1">
                  <a:alpha val="0"/>
                </a:schemeClr>
              </a:gs>
              <a:gs pos="16000">
                <a:schemeClr val="bg1"/>
              </a:gs>
              <a:gs pos="100000">
                <a:schemeClr val="bg1"/>
              </a:gs>
            </a:gsLst>
            <a:lin ang="16200000" scaled="1"/>
            <a:tileRect/>
          </a:gra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图片 59"/>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20000"/>
                    </a14:imgEffect>
                    <a14:imgEffect>
                      <a14:colorTemperature colorTemp="5300"/>
                    </a14:imgEffect>
                  </a14:imgLayer>
                </a14:imgProps>
              </a:ext>
            </a:extLst>
          </a:blip>
          <a:srcRect/>
          <a:stretch>
            <a:fillRect/>
          </a:stretch>
        </p:blipFill>
        <p:spPr>
          <a:xfrm>
            <a:off x="0" y="1516893"/>
            <a:ext cx="12192000" cy="5341108"/>
          </a:xfrm>
          <a:prstGeom prst="rect">
            <a:avLst/>
          </a:prstGeom>
        </p:spPr>
      </p:pic>
      <p:sp>
        <p:nvSpPr>
          <p:cNvPr id="61" name="矩形 60"/>
          <p:cNvSpPr/>
          <p:nvPr userDrawn="1"/>
        </p:nvSpPr>
        <p:spPr>
          <a:xfrm>
            <a:off x="0" y="0"/>
            <a:ext cx="12192000" cy="4190035"/>
          </a:xfrm>
          <a:prstGeom prst="rect">
            <a:avLst/>
          </a:prstGeom>
          <a:gradFill flip="none" rotWithShape="1">
            <a:gsLst>
              <a:gs pos="0">
                <a:schemeClr val="bg1">
                  <a:alpha val="0"/>
                </a:schemeClr>
              </a:gs>
              <a:gs pos="16000">
                <a:schemeClr val="bg1"/>
              </a:gs>
              <a:gs pos="100000">
                <a:schemeClr val="bg1"/>
              </a:gs>
            </a:gsLst>
            <a:lin ang="16200000" scaled="1"/>
            <a:tileRect/>
          </a:gra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图片 61"/>
          <p:cNvPicPr>
            <a:picLocks noChangeAspect="1"/>
          </p:cNvPicPr>
          <p:nvPr userDrawn="1"/>
        </p:nvPicPr>
        <p:blipFill rotWithShape="1">
          <a:blip r:embed="rId4" cstate="email">
            <a:alphaModFix amt="13000"/>
            <a:extLst>
              <a:ext uri="{BEBA8EAE-BF5A-486C-A8C5-ECC9F3942E4B}">
                <a14:imgProps xmlns:a14="http://schemas.microsoft.com/office/drawing/2010/main">
                  <a14:imgLayer r:embed="rId5">
                    <a14:imgEffect>
                      <a14:brightnessContrast bright="10000"/>
                    </a14:imgEffect>
                    <a14:imgEffect>
                      <a14:colorTemperature colorTemp="4700"/>
                    </a14:imgEffect>
                  </a14:imgLayer>
                </a14:imgProps>
              </a:ext>
            </a:extLst>
          </a:blip>
          <a:srcRect/>
          <a:stretch>
            <a:fillRect/>
          </a:stretch>
        </p:blipFill>
        <p:spPr>
          <a:xfrm>
            <a:off x="0" y="0"/>
            <a:ext cx="12192000" cy="3017520"/>
          </a:xfrm>
          <a:prstGeom prst="rect">
            <a:avLst/>
          </a:prstGeom>
        </p:spPr>
      </p:pic>
      <p:grpSp>
        <p:nvGrpSpPr>
          <p:cNvPr id="121" name="组合 120"/>
          <p:cNvGrpSpPr/>
          <p:nvPr userDrawn="1"/>
        </p:nvGrpSpPr>
        <p:grpSpPr>
          <a:xfrm>
            <a:off x="5271655" y="1112449"/>
            <a:ext cx="1648690" cy="560362"/>
            <a:chOff x="1398368" y="5051425"/>
            <a:chExt cx="3242941" cy="1102222"/>
          </a:xfrm>
        </p:grpSpPr>
        <p:sp>
          <p:nvSpPr>
            <p:cNvPr id="12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25" name="组合 124"/>
            <p:cNvGrpSpPr/>
            <p:nvPr/>
          </p:nvGrpSpPr>
          <p:grpSpPr>
            <a:xfrm>
              <a:off x="2921957" y="5168150"/>
              <a:ext cx="542765" cy="642593"/>
              <a:chOff x="3102298" y="5183391"/>
              <a:chExt cx="501880" cy="594188"/>
            </a:xfrm>
          </p:grpSpPr>
          <p:sp>
            <p:nvSpPr>
              <p:cNvPr id="16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6" name="组合 125"/>
            <p:cNvGrpSpPr/>
            <p:nvPr/>
          </p:nvGrpSpPr>
          <p:grpSpPr>
            <a:xfrm>
              <a:off x="4196892" y="5154476"/>
              <a:ext cx="444417" cy="649987"/>
              <a:chOff x="4257853" y="5169716"/>
              <a:chExt cx="410940" cy="601025"/>
            </a:xfrm>
          </p:grpSpPr>
          <p:sp>
            <p:nvSpPr>
              <p:cNvPr id="16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 name="标题 1"/>
          <p:cNvSpPr>
            <a:spLocks noGrp="1"/>
          </p:cNvSpPr>
          <p:nvPr>
            <p:ph type="ctrTitle"/>
          </p:nvPr>
        </p:nvSpPr>
        <p:spPr>
          <a:xfrm>
            <a:off x="1554867" y="2032403"/>
            <a:ext cx="9082268" cy="923330"/>
          </a:xfrm>
        </p:spPr>
        <p:txBody>
          <a:bodyPr lIns="0" tIns="0" rIns="0" bIns="0" anchor="ctr">
            <a:noAutofit/>
          </a:bodyPr>
          <a:lstStyle>
            <a:lvl1pPr marL="0" algn="ctr" defTabSz="457200" rtl="0" eaLnBrk="1" latinLnBrk="0" hangingPunct="1">
              <a:lnSpc>
                <a:spcPct val="100000"/>
              </a:lnSpc>
              <a:spcBef>
                <a:spcPts val="0"/>
              </a:spcBef>
              <a:defRPr lang="en-US" sz="5400" b="1" kern="1200" spc="300" dirty="0">
                <a:solidFill>
                  <a:schemeClr val="accent1"/>
                </a:solidFill>
                <a:latin typeface="+mn-lt"/>
                <a:ea typeface="+mn-ea"/>
                <a:cs typeface="+mn-cs"/>
              </a:defRPr>
            </a:lvl1pPr>
          </a:lstStyle>
          <a:p>
            <a:endParaRPr lang="en-US" dirty="0"/>
          </a:p>
        </p:txBody>
      </p:sp>
      <p:sp>
        <p:nvSpPr>
          <p:cNvPr id="3" name="副标题 2"/>
          <p:cNvSpPr>
            <a:spLocks noGrp="1"/>
          </p:cNvSpPr>
          <p:nvPr>
            <p:ph type="subTitle" idx="1"/>
          </p:nvPr>
        </p:nvSpPr>
        <p:spPr>
          <a:xfrm>
            <a:off x="1554867" y="2982132"/>
            <a:ext cx="9082268" cy="400110"/>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30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73" name="矩形 172"/>
          <p:cNvSpPr/>
          <p:nvPr userDrawn="1"/>
        </p:nvSpPr>
        <p:spPr>
          <a:xfrm>
            <a:off x="1554867" y="3469009"/>
            <a:ext cx="9082268" cy="32747"/>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74" name="任意多边形: 形状 173"/>
          <p:cNvSpPr/>
          <p:nvPr userDrawn="1"/>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任意多边形: 形状 174"/>
          <p:cNvSpPr/>
          <p:nvPr userDrawn="1"/>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1" fmla="*/ 0 w 550718"/>
              <a:gd name="connsiteY0-2" fmla="*/ 15239 h 766502"/>
              <a:gd name="connsiteX1-3" fmla="*/ 471574 w 550718"/>
              <a:gd name="connsiteY1-4" fmla="*/ 0 h 766502"/>
              <a:gd name="connsiteX2-5" fmla="*/ 550718 w 550718"/>
              <a:gd name="connsiteY2-6" fmla="*/ 15239 h 766502"/>
              <a:gd name="connsiteX3-7" fmla="*/ 550718 w 550718"/>
              <a:gd name="connsiteY3-8" fmla="*/ 49529 h 766502"/>
              <a:gd name="connsiteX4-9" fmla="*/ 550718 w 550718"/>
              <a:gd name="connsiteY4-10" fmla="*/ 112394 h 766502"/>
              <a:gd name="connsiteX5-11" fmla="*/ 550718 w 550718"/>
              <a:gd name="connsiteY5-12" fmla="*/ 766502 h 766502"/>
              <a:gd name="connsiteX6-13" fmla="*/ 332814 w 550718"/>
              <a:gd name="connsiteY6-14" fmla="*/ 766502 h 766502"/>
              <a:gd name="connsiteX7-15" fmla="*/ 275359 w 550718"/>
              <a:gd name="connsiteY7-16" fmla="*/ 654877 h 766502"/>
              <a:gd name="connsiteX8-17" fmla="*/ 217904 w 550718"/>
              <a:gd name="connsiteY8-18" fmla="*/ 766502 h 766502"/>
              <a:gd name="connsiteX9-19" fmla="*/ 0 w 550718"/>
              <a:gd name="connsiteY9-20" fmla="*/ 766502 h 766502"/>
              <a:gd name="connsiteX10-21" fmla="*/ 0 w 550718"/>
              <a:gd name="connsiteY10-22" fmla="*/ 112394 h 766502"/>
              <a:gd name="connsiteX11" fmla="*/ 0 w 550718"/>
              <a:gd name="connsiteY11" fmla="*/ 49529 h 766502"/>
              <a:gd name="connsiteX12" fmla="*/ 0 w 550718"/>
              <a:gd name="connsiteY12" fmla="*/ 15239 h 766502"/>
              <a:gd name="connsiteX0-23" fmla="*/ 471574 w 563014"/>
              <a:gd name="connsiteY0-24" fmla="*/ 0 h 766502"/>
              <a:gd name="connsiteX1-25" fmla="*/ 550718 w 563014"/>
              <a:gd name="connsiteY1-26" fmla="*/ 15239 h 766502"/>
              <a:gd name="connsiteX2-27" fmla="*/ 550718 w 563014"/>
              <a:gd name="connsiteY2-28" fmla="*/ 49529 h 766502"/>
              <a:gd name="connsiteX3-29" fmla="*/ 550718 w 563014"/>
              <a:gd name="connsiteY3-30" fmla="*/ 112394 h 766502"/>
              <a:gd name="connsiteX4-31" fmla="*/ 550718 w 563014"/>
              <a:gd name="connsiteY4-32" fmla="*/ 766502 h 766502"/>
              <a:gd name="connsiteX5-33" fmla="*/ 332814 w 563014"/>
              <a:gd name="connsiteY5-34" fmla="*/ 766502 h 766502"/>
              <a:gd name="connsiteX6-35" fmla="*/ 275359 w 563014"/>
              <a:gd name="connsiteY6-36" fmla="*/ 654877 h 766502"/>
              <a:gd name="connsiteX7-37" fmla="*/ 217904 w 563014"/>
              <a:gd name="connsiteY7-38" fmla="*/ 766502 h 766502"/>
              <a:gd name="connsiteX8-39" fmla="*/ 0 w 563014"/>
              <a:gd name="connsiteY8-40" fmla="*/ 766502 h 766502"/>
              <a:gd name="connsiteX9-41" fmla="*/ 0 w 563014"/>
              <a:gd name="connsiteY9-42" fmla="*/ 112394 h 766502"/>
              <a:gd name="connsiteX10-43" fmla="*/ 0 w 563014"/>
              <a:gd name="connsiteY10-44" fmla="*/ 49529 h 766502"/>
              <a:gd name="connsiteX11-45" fmla="*/ 0 w 563014"/>
              <a:gd name="connsiteY11-46" fmla="*/ 15239 h 766502"/>
              <a:gd name="connsiteX12-47" fmla="*/ 563014 w 563014"/>
              <a:gd name="connsiteY12-48" fmla="*/ 91440 h 766502"/>
              <a:gd name="connsiteX0-49" fmla="*/ 550718 w 563014"/>
              <a:gd name="connsiteY0-50" fmla="*/ 1132 h 752395"/>
              <a:gd name="connsiteX1-51" fmla="*/ 550718 w 563014"/>
              <a:gd name="connsiteY1-52" fmla="*/ 35422 h 752395"/>
              <a:gd name="connsiteX2-53" fmla="*/ 550718 w 563014"/>
              <a:gd name="connsiteY2-54" fmla="*/ 98287 h 752395"/>
              <a:gd name="connsiteX3-55" fmla="*/ 550718 w 563014"/>
              <a:gd name="connsiteY3-56" fmla="*/ 752395 h 752395"/>
              <a:gd name="connsiteX4-57" fmla="*/ 332814 w 563014"/>
              <a:gd name="connsiteY4-58" fmla="*/ 752395 h 752395"/>
              <a:gd name="connsiteX5-59" fmla="*/ 275359 w 563014"/>
              <a:gd name="connsiteY5-60" fmla="*/ 640770 h 752395"/>
              <a:gd name="connsiteX6-61" fmla="*/ 217904 w 563014"/>
              <a:gd name="connsiteY6-62" fmla="*/ 752395 h 752395"/>
              <a:gd name="connsiteX7-63" fmla="*/ 0 w 563014"/>
              <a:gd name="connsiteY7-64" fmla="*/ 752395 h 752395"/>
              <a:gd name="connsiteX8-65" fmla="*/ 0 w 563014"/>
              <a:gd name="connsiteY8-66" fmla="*/ 98287 h 752395"/>
              <a:gd name="connsiteX9-67" fmla="*/ 0 w 563014"/>
              <a:gd name="connsiteY9-68" fmla="*/ 35422 h 752395"/>
              <a:gd name="connsiteX10-69" fmla="*/ 0 w 563014"/>
              <a:gd name="connsiteY10-70" fmla="*/ 1132 h 752395"/>
              <a:gd name="connsiteX11-71" fmla="*/ 563014 w 563014"/>
              <a:gd name="connsiteY11-72" fmla="*/ 77333 h 752395"/>
              <a:gd name="connsiteX0-73" fmla="*/ 550718 w 550718"/>
              <a:gd name="connsiteY0-74" fmla="*/ 0 h 751263"/>
              <a:gd name="connsiteX1-75" fmla="*/ 550718 w 550718"/>
              <a:gd name="connsiteY1-76" fmla="*/ 34290 h 751263"/>
              <a:gd name="connsiteX2-77" fmla="*/ 550718 w 550718"/>
              <a:gd name="connsiteY2-78" fmla="*/ 97155 h 751263"/>
              <a:gd name="connsiteX3-79" fmla="*/ 550718 w 550718"/>
              <a:gd name="connsiteY3-80" fmla="*/ 751263 h 751263"/>
              <a:gd name="connsiteX4-81" fmla="*/ 332814 w 550718"/>
              <a:gd name="connsiteY4-82" fmla="*/ 751263 h 751263"/>
              <a:gd name="connsiteX5-83" fmla="*/ 275359 w 550718"/>
              <a:gd name="connsiteY5-84" fmla="*/ 639638 h 751263"/>
              <a:gd name="connsiteX6-85" fmla="*/ 217904 w 550718"/>
              <a:gd name="connsiteY6-86" fmla="*/ 751263 h 751263"/>
              <a:gd name="connsiteX7-87" fmla="*/ 0 w 550718"/>
              <a:gd name="connsiteY7-88" fmla="*/ 751263 h 751263"/>
              <a:gd name="connsiteX8-89" fmla="*/ 0 w 550718"/>
              <a:gd name="connsiteY8-90" fmla="*/ 97155 h 751263"/>
              <a:gd name="connsiteX9-91" fmla="*/ 0 w 550718"/>
              <a:gd name="connsiteY9-92" fmla="*/ 34290 h 751263"/>
              <a:gd name="connsiteX10-93" fmla="*/ 0 w 550718"/>
              <a:gd name="connsiteY10-94" fmla="*/ 0 h 75126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文本占位符 4"/>
          <p:cNvSpPr>
            <a:spLocks noGrp="1"/>
          </p:cNvSpPr>
          <p:nvPr>
            <p:ph type="body" sz="quarter" idx="15"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66" name="文本占位符 4"/>
          <p:cNvSpPr>
            <a:spLocks noGrp="1"/>
          </p:cNvSpPr>
          <p:nvPr>
            <p:ph type="body" sz="quarter" idx="16"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封底3-1">
    <p:spTree>
      <p:nvGrpSpPr>
        <p:cNvPr id="1" name=""/>
        <p:cNvGrpSpPr/>
        <p:nvPr/>
      </p:nvGrpSpPr>
      <p:grpSpPr>
        <a:xfrm>
          <a:off x="0" y="0"/>
          <a:ext cx="0" cy="0"/>
          <a:chOff x="0" y="0"/>
          <a:chExt cx="0" cy="0"/>
        </a:xfrm>
      </p:grpSpPr>
      <p:pic>
        <p:nvPicPr>
          <p:cNvPr id="63" name="图片 62"/>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pic>
        <p:nvPicPr>
          <p:cNvPr id="64" name="图片 63"/>
          <p:cNvPicPr>
            <a:picLocks noChangeAspect="1"/>
          </p:cNvPicPr>
          <p:nvPr userDrawn="1"/>
        </p:nvPicPr>
        <p:blipFill rotWithShape="1">
          <a:blip r:embed="rId3" cstate="email"/>
          <a:srcRect/>
          <a:stretch>
            <a:fillRect/>
          </a:stretch>
        </p:blipFill>
        <p:spPr>
          <a:xfrm>
            <a:off x="259773" y="0"/>
            <a:ext cx="4010890" cy="6858000"/>
          </a:xfrm>
          <a:prstGeom prst="parallelogram">
            <a:avLst>
              <a:gd name="adj" fmla="val 46011"/>
            </a:avLst>
          </a:prstGeom>
        </p:spPr>
      </p:pic>
      <p:pic>
        <p:nvPicPr>
          <p:cNvPr id="65" name="图片 64"/>
          <p:cNvPicPr>
            <a:picLocks noChangeAspect="1"/>
          </p:cNvPicPr>
          <p:nvPr userDrawn="1"/>
        </p:nvPicPr>
        <p:blipFill rotWithShape="1">
          <a:blip r:embed="rId4" cstate="email"/>
          <a:srcRect/>
          <a:stretch>
            <a:fillRect/>
          </a:stretch>
        </p:blipFill>
        <p:spPr>
          <a:xfrm>
            <a:off x="2599380" y="0"/>
            <a:ext cx="2824675" cy="6858000"/>
          </a:xfrm>
          <a:prstGeom prst="parallelogram">
            <a:avLst>
              <a:gd name="adj" fmla="val 66271"/>
            </a:avLst>
          </a:prstGeom>
        </p:spPr>
      </p:pic>
      <p:sp>
        <p:nvSpPr>
          <p:cNvPr id="116" name="平行四边形 115"/>
          <p:cNvSpPr/>
          <p:nvPr userDrawn="1"/>
        </p:nvSpPr>
        <p:spPr>
          <a:xfrm>
            <a:off x="259773" y="0"/>
            <a:ext cx="4010890" cy="6858000"/>
          </a:xfrm>
          <a:prstGeom prst="parallelogram">
            <a:avLst>
              <a:gd name="adj" fmla="val 45700"/>
            </a:avLst>
          </a:prstGeom>
          <a:solidFill>
            <a:schemeClr val="accent1">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平行四边形 116"/>
          <p:cNvSpPr/>
          <p:nvPr userDrawn="1"/>
        </p:nvSpPr>
        <p:spPr>
          <a:xfrm>
            <a:off x="2599380" y="0"/>
            <a:ext cx="2824675" cy="6858000"/>
          </a:xfrm>
          <a:prstGeom prst="parallelogram">
            <a:avLst>
              <a:gd name="adj" fmla="val 65960"/>
            </a:avLst>
          </a:prstGeom>
          <a:solidFill>
            <a:schemeClr val="accent2">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4448886" y="2292367"/>
            <a:ext cx="7263689" cy="923330"/>
          </a:xfrm>
          <a:noFill/>
          <a:effectLst/>
        </p:spPr>
        <p:txBody>
          <a:bodyPr wrap="square" lIns="0" rIns="0" rtlCol="0" anchor="ctr">
            <a:noAutofit/>
          </a:bodyPr>
          <a:lstStyle>
            <a:lvl1pPr>
              <a:defRPr lang="en-US" sz="5400" b="1" spc="300" dirty="0">
                <a:solidFill>
                  <a:schemeClr val="accent1"/>
                </a:solidFill>
                <a:effectLst/>
                <a:latin typeface="+mn-lt"/>
                <a:ea typeface="+mn-ea"/>
                <a:cs typeface="+mn-cs"/>
              </a:defRPr>
            </a:lvl1pPr>
          </a:lstStyle>
          <a:p>
            <a:pPr marL="0" lvl="0" defTabSz="457200"/>
            <a:endParaRPr lang="en-US" dirty="0"/>
          </a:p>
        </p:txBody>
      </p:sp>
      <p:sp>
        <p:nvSpPr>
          <p:cNvPr id="124" name="内容占位符 123"/>
          <p:cNvSpPr>
            <a:spLocks noGrp="1"/>
          </p:cNvSpPr>
          <p:nvPr>
            <p:ph sz="quarter" idx="12" hasCustomPrompt="1"/>
          </p:nvPr>
        </p:nvSpPr>
        <p:spPr>
          <a:xfrm>
            <a:off x="4448886" y="4227024"/>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5" name="内容占位符 4"/>
          <p:cNvSpPr>
            <a:spLocks noGrp="1"/>
          </p:cNvSpPr>
          <p:nvPr>
            <p:ph sz="quarter" idx="11" hasCustomPrompt="1"/>
          </p:nvPr>
        </p:nvSpPr>
        <p:spPr>
          <a:xfrm>
            <a:off x="7344446" y="4227024"/>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75" name="直接连接符 174"/>
          <p:cNvCxnSpPr/>
          <p:nvPr/>
        </p:nvCxnSpPr>
        <p:spPr>
          <a:xfrm>
            <a:off x="6842144" y="428810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文本占位符 5"/>
          <p:cNvSpPr>
            <a:spLocks noGrp="1"/>
          </p:cNvSpPr>
          <p:nvPr>
            <p:ph type="body" sz="quarter" idx="13"/>
          </p:nvPr>
        </p:nvSpPr>
        <p:spPr>
          <a:xfrm>
            <a:off x="4448886" y="3189478"/>
            <a:ext cx="7263689" cy="400110"/>
          </a:xfrm>
        </p:spPr>
        <p:txBody>
          <a:bodyPr lIns="0" tIns="0" rIns="0" bIns="0" anchor="ctr"/>
          <a:lstStyle>
            <a:lvl1pPr>
              <a:defRPr sz="1600" spc="3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
        <p:nvSpPr>
          <p:cNvPr id="177" name="矩形 176"/>
          <p:cNvSpPr/>
          <p:nvPr userDrawn="1"/>
        </p:nvSpPr>
        <p:spPr>
          <a:xfrm>
            <a:off x="4448886" y="3724242"/>
            <a:ext cx="7743114" cy="45719"/>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nvGrpSpPr>
          <p:cNvPr id="61" name="组合 60"/>
          <p:cNvGrpSpPr/>
          <p:nvPr userDrawn="1"/>
        </p:nvGrpSpPr>
        <p:grpSpPr>
          <a:xfrm>
            <a:off x="10477913" y="446123"/>
            <a:ext cx="1234662" cy="419641"/>
            <a:chOff x="1398368" y="5051425"/>
            <a:chExt cx="3242941" cy="1102222"/>
          </a:xfrm>
        </p:grpSpPr>
        <p:sp>
          <p:nvSpPr>
            <p:cNvPr id="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8" name="组合 117"/>
            <p:cNvGrpSpPr/>
            <p:nvPr/>
          </p:nvGrpSpPr>
          <p:grpSpPr>
            <a:xfrm>
              <a:off x="2921957" y="5168150"/>
              <a:ext cx="542765" cy="642593"/>
              <a:chOff x="3102298" y="5183391"/>
              <a:chExt cx="501880" cy="594188"/>
            </a:xfrm>
          </p:grpSpPr>
          <p:sp>
            <p:nvSpPr>
              <p:cNvPr id="160"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1"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9" name="组合 118"/>
            <p:cNvGrpSpPr/>
            <p:nvPr/>
          </p:nvGrpSpPr>
          <p:grpSpPr>
            <a:xfrm>
              <a:off x="4196892" y="5154476"/>
              <a:ext cx="444417" cy="649987"/>
              <a:chOff x="4257853" y="5169716"/>
              <a:chExt cx="410940" cy="601025"/>
            </a:xfrm>
          </p:grpSpPr>
          <p:sp>
            <p:nvSpPr>
              <p:cNvPr id="15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封底4-1">
    <p:spTree>
      <p:nvGrpSpPr>
        <p:cNvPr id="1" name=""/>
        <p:cNvGrpSpPr/>
        <p:nvPr/>
      </p:nvGrpSpPr>
      <p:grpSpPr>
        <a:xfrm>
          <a:off x="0" y="0"/>
          <a:ext cx="0" cy="0"/>
          <a:chOff x="0" y="0"/>
          <a:chExt cx="0" cy="0"/>
        </a:xfrm>
      </p:grpSpPr>
      <p:pic>
        <p:nvPicPr>
          <p:cNvPr id="72" name="图片 71"/>
          <p:cNvPicPr>
            <a:picLocks noChangeAspect="1"/>
          </p:cNvPicPr>
          <p:nvPr userDrawn="1"/>
        </p:nvPicPr>
        <p:blipFill>
          <a:blip r:embed="rId2" cstate="email"/>
          <a:stretch>
            <a:fillRect/>
          </a:stretch>
        </p:blipFill>
        <p:spPr>
          <a:xfrm>
            <a:off x="0" y="609"/>
            <a:ext cx="12192000" cy="6856781"/>
          </a:xfrm>
          <a:prstGeom prst="rect">
            <a:avLst/>
          </a:prstGeom>
        </p:spPr>
      </p:pic>
      <p:sp>
        <p:nvSpPr>
          <p:cNvPr id="171" name="标题 1"/>
          <p:cNvSpPr>
            <a:spLocks noGrp="1"/>
          </p:cNvSpPr>
          <p:nvPr>
            <p:ph type="ctrTitle"/>
          </p:nvPr>
        </p:nvSpPr>
        <p:spPr>
          <a:xfrm>
            <a:off x="1728355" y="2113836"/>
            <a:ext cx="8839200" cy="1200329"/>
          </a:xfrm>
        </p:spPr>
        <p:txBody>
          <a:bodyPr wrap="square" lIns="0" rIns="0">
            <a:noAutofit/>
          </a:bodyPr>
          <a:lstStyle>
            <a:lvl1pPr>
              <a:lnSpc>
                <a:spcPct val="100000"/>
              </a:lnSpc>
              <a:defRPr lang="en-US" sz="7200" b="1" dirty="0">
                <a:solidFill>
                  <a:schemeClr val="bg1"/>
                </a:solidFill>
                <a:effectLst>
                  <a:outerShdw blurRad="38100" dist="38100" dir="2700000" algn="tl">
                    <a:srgbClr val="000000">
                      <a:alpha val="43137"/>
                    </a:srgbClr>
                  </a:outerShdw>
                </a:effectLst>
                <a:latin typeface="+mn-lt"/>
                <a:ea typeface="+mn-ea"/>
                <a:cs typeface="+mn-ea"/>
              </a:defRPr>
            </a:lvl1pPr>
          </a:lstStyle>
          <a:p>
            <a:pPr marL="0" lvl="0" algn="ctr" defTabSz="457200"/>
            <a:endParaRPr lang="en-US" dirty="0"/>
          </a:p>
        </p:txBody>
      </p:sp>
      <p:grpSp>
        <p:nvGrpSpPr>
          <p:cNvPr id="66" name="组合 65"/>
          <p:cNvGrpSpPr/>
          <p:nvPr userDrawn="1"/>
        </p:nvGrpSpPr>
        <p:grpSpPr>
          <a:xfrm>
            <a:off x="1728355" y="3451756"/>
            <a:ext cx="8839200" cy="103909"/>
            <a:chOff x="1676400" y="4353791"/>
            <a:chExt cx="8839200" cy="103909"/>
          </a:xfrm>
        </p:grpSpPr>
        <p:cxnSp>
          <p:nvCxnSpPr>
            <p:cNvPr id="67" name="直接连接符 66"/>
            <p:cNvCxnSpPr/>
            <p:nvPr/>
          </p:nvCxnSpPr>
          <p:spPr>
            <a:xfrm>
              <a:off x="1676400" y="4353791"/>
              <a:ext cx="8839200" cy="0"/>
            </a:xfrm>
            <a:prstGeom prst="line">
              <a:avLst/>
            </a:prstGeom>
            <a:ln w="571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直接连接符 67"/>
            <p:cNvCxnSpPr/>
            <p:nvPr/>
          </p:nvCxnSpPr>
          <p:spPr>
            <a:xfrm>
              <a:off x="1676400" y="4457700"/>
              <a:ext cx="8839200" cy="0"/>
            </a:xfrm>
            <a:prstGeom prst="line">
              <a:avLst/>
            </a:prstGeom>
            <a:ln w="952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0" name="文本占位符 4"/>
          <p:cNvSpPr>
            <a:spLocks noGrp="1"/>
          </p:cNvSpPr>
          <p:nvPr>
            <p:ph type="body" sz="quarter" idx="15"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117" name="文本占位符 4"/>
          <p:cNvSpPr>
            <a:spLocks noGrp="1"/>
          </p:cNvSpPr>
          <p:nvPr>
            <p:ph type="body" sz="quarter" idx="16"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grpSp>
        <p:nvGrpSpPr>
          <p:cNvPr id="57" name="组合 56"/>
          <p:cNvGrpSpPr/>
          <p:nvPr userDrawn="1"/>
        </p:nvGrpSpPr>
        <p:grpSpPr>
          <a:xfrm>
            <a:off x="5478669" y="446123"/>
            <a:ext cx="1234662" cy="419641"/>
            <a:chOff x="1398368" y="5051425"/>
            <a:chExt cx="3242941" cy="1102222"/>
          </a:xfrm>
          <a:solidFill>
            <a:schemeClr val="bg1"/>
          </a:solidFill>
        </p:grpSpPr>
        <p:sp>
          <p:nvSpPr>
            <p:cNvPr id="58"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2" name="组合 61"/>
            <p:cNvGrpSpPr/>
            <p:nvPr/>
          </p:nvGrpSpPr>
          <p:grpSpPr>
            <a:xfrm>
              <a:off x="2921957" y="5168150"/>
              <a:ext cx="542765" cy="642593"/>
              <a:chOff x="3102298" y="5183391"/>
              <a:chExt cx="501880" cy="594188"/>
            </a:xfrm>
            <a:grpFill/>
          </p:grpSpPr>
          <p:sp>
            <p:nvSpPr>
              <p:cNvPr id="155"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3" name="组合 62"/>
            <p:cNvGrpSpPr/>
            <p:nvPr/>
          </p:nvGrpSpPr>
          <p:grpSpPr>
            <a:xfrm>
              <a:off x="4196892" y="5154476"/>
              <a:ext cx="444417" cy="649987"/>
              <a:chOff x="4257853" y="5169716"/>
              <a:chExt cx="410940" cy="601025"/>
            </a:xfrm>
            <a:grpFill/>
          </p:grpSpPr>
          <p:sp>
            <p:nvSpPr>
              <p:cNvPr id="150"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4"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9"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8"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518811" y="1196974"/>
            <a:ext cx="7182469" cy="4926861"/>
          </a:xfrm>
          <a:solidFill>
            <a:schemeClr val="accent1">
              <a:lumMod val="20000"/>
              <a:lumOff val="80000"/>
            </a:schemeClr>
          </a:solidFill>
        </p:spPr>
        <p:txBody>
          <a:bodyPr/>
          <a:lstStyle/>
          <a:p>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3" name="图片占位符 112"/>
          <p:cNvSpPr>
            <a:spLocks noGrp="1"/>
          </p:cNvSpPr>
          <p:nvPr>
            <p:ph type="pic" sz="quarter" idx="10"/>
          </p:nvPr>
        </p:nvSpPr>
        <p:spPr>
          <a:xfrm>
            <a:off x="515938" y="1196975"/>
            <a:ext cx="6107810" cy="5041779"/>
          </a:xfrm>
          <a:custGeom>
            <a:avLst/>
            <a:gdLst>
              <a:gd name="connsiteX0" fmla="*/ 5336222 w 6107810"/>
              <a:gd name="connsiteY0" fmla="*/ 5039816 h 5041779"/>
              <a:gd name="connsiteX1" fmla="*/ 5336222 w 6107810"/>
              <a:gd name="connsiteY1" fmla="*/ 5041779 h 5041779"/>
              <a:gd name="connsiteX2" fmla="*/ 3707617 w 6107810"/>
              <a:gd name="connsiteY2" fmla="*/ 5041779 h 5041779"/>
              <a:gd name="connsiteX3" fmla="*/ 0 w 6107810"/>
              <a:gd name="connsiteY3" fmla="*/ 0 h 5041779"/>
              <a:gd name="connsiteX4" fmla="*/ 4785360 w 6107810"/>
              <a:gd name="connsiteY4" fmla="*/ 0 h 5041779"/>
              <a:gd name="connsiteX5" fmla="*/ 4788433 w 6107810"/>
              <a:gd name="connsiteY5" fmla="*/ 28395 h 5041779"/>
              <a:gd name="connsiteX6" fmla="*/ 4741665 w 6107810"/>
              <a:gd name="connsiteY6" fmla="*/ 75141 h 5041779"/>
              <a:gd name="connsiteX7" fmla="*/ 4383076 w 6107810"/>
              <a:gd name="connsiteY7" fmla="*/ 433565 h 5041779"/>
              <a:gd name="connsiteX8" fmla="*/ 4398870 w 6107810"/>
              <a:gd name="connsiteY8" fmla="*/ 433565 h 5041779"/>
              <a:gd name="connsiteX9" fmla="*/ 4398868 w 6107810"/>
              <a:gd name="connsiteY9" fmla="*/ 433566 h 5041779"/>
              <a:gd name="connsiteX10" fmla="*/ 4644798 w 6107810"/>
              <a:gd name="connsiteY10" fmla="*/ 433566 h 5041779"/>
              <a:gd name="connsiteX11" fmla="*/ 4664139 w 6107810"/>
              <a:gd name="connsiteY11" fmla="*/ 433566 h 5041779"/>
              <a:gd name="connsiteX12" fmla="*/ 4663218 w 6107810"/>
              <a:gd name="connsiteY12" fmla="*/ 446025 h 5041779"/>
              <a:gd name="connsiteX13" fmla="*/ 4972402 w 6107810"/>
              <a:gd name="connsiteY13" fmla="*/ 1919793 h 5041779"/>
              <a:gd name="connsiteX14" fmla="*/ 6105722 w 6107810"/>
              <a:gd name="connsiteY14" fmla="*/ 3147744 h 5041779"/>
              <a:gd name="connsiteX15" fmla="*/ 3707617 w 6107810"/>
              <a:gd name="connsiteY15" fmla="*/ 5041779 h 5041779"/>
              <a:gd name="connsiteX16" fmla="*/ 0 w 6107810"/>
              <a:gd name="connsiteY16" fmla="*/ 5041779 h 5041779"/>
              <a:gd name="connsiteX17" fmla="*/ 0 w 6107810"/>
              <a:gd name="connsiteY17" fmla="*/ 4932363 h 5041779"/>
              <a:gd name="connsiteX18" fmla="*/ 0 w 6107810"/>
              <a:gd name="connsiteY18" fmla="*/ 4716659 h 504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07810" h="5041779">
                <a:moveTo>
                  <a:pt x="5336222" y="5039816"/>
                </a:moveTo>
                <a:lnTo>
                  <a:pt x="5336222" y="5041779"/>
                </a:lnTo>
                <a:lnTo>
                  <a:pt x="3707617" y="5041779"/>
                </a:lnTo>
                <a:close/>
                <a:moveTo>
                  <a:pt x="0" y="0"/>
                </a:moveTo>
                <a:lnTo>
                  <a:pt x="4785360" y="0"/>
                </a:lnTo>
                <a:lnTo>
                  <a:pt x="4788433" y="28395"/>
                </a:lnTo>
                <a:lnTo>
                  <a:pt x="4741665" y="75141"/>
                </a:lnTo>
                <a:cubicBezTo>
                  <a:pt x="4383076" y="433565"/>
                  <a:pt x="4383076" y="433565"/>
                  <a:pt x="4383076" y="433565"/>
                </a:cubicBezTo>
                <a:lnTo>
                  <a:pt x="4398870" y="433565"/>
                </a:lnTo>
                <a:lnTo>
                  <a:pt x="4398868" y="433566"/>
                </a:lnTo>
                <a:cubicBezTo>
                  <a:pt x="4539400" y="433566"/>
                  <a:pt x="4609665" y="433566"/>
                  <a:pt x="4644798" y="433566"/>
                </a:cubicBezTo>
                <a:lnTo>
                  <a:pt x="4664139" y="433566"/>
                </a:lnTo>
                <a:lnTo>
                  <a:pt x="4663218" y="446025"/>
                </a:lnTo>
                <a:cubicBezTo>
                  <a:pt x="4654719" y="568403"/>
                  <a:pt x="4598407" y="1558715"/>
                  <a:pt x="4972402" y="1919793"/>
                </a:cubicBezTo>
                <a:cubicBezTo>
                  <a:pt x="5371331" y="2304944"/>
                  <a:pt x="6055856" y="2531503"/>
                  <a:pt x="6105722" y="3147744"/>
                </a:cubicBezTo>
                <a:cubicBezTo>
                  <a:pt x="6146521" y="3736798"/>
                  <a:pt x="5597995" y="4289603"/>
                  <a:pt x="3707617" y="5041779"/>
                </a:cubicBezTo>
                <a:lnTo>
                  <a:pt x="0" y="5041779"/>
                </a:lnTo>
                <a:lnTo>
                  <a:pt x="0" y="4932363"/>
                </a:lnTo>
                <a:lnTo>
                  <a:pt x="0" y="4716659"/>
                </a:lnTo>
                <a:close/>
              </a:path>
            </a:pathLst>
          </a:custGeom>
          <a:solidFill>
            <a:schemeClr val="accent1">
              <a:lumMod val="20000"/>
              <a:lumOff val="80000"/>
            </a:schemeClr>
          </a:solidFill>
        </p:spPr>
        <p:txBody>
          <a:bodyPr wrap="square">
            <a:noAutofit/>
          </a:bodyPr>
          <a:lstStyle/>
          <a:p>
            <a:endParaRPr lang="en-US"/>
          </a:p>
        </p:txBody>
      </p:sp>
      <p:grpSp>
        <p:nvGrpSpPr>
          <p:cNvPr id="114" name="Group 63"/>
          <p:cNvGrpSpPr/>
          <p:nvPr userDrawn="1"/>
        </p:nvGrpSpPr>
        <p:grpSpPr>
          <a:xfrm>
            <a:off x="4589315" y="1195546"/>
            <a:ext cx="5063673" cy="5043208"/>
            <a:chOff x="4199068" y="646963"/>
            <a:chExt cx="6351005" cy="6325337"/>
          </a:xfrm>
        </p:grpSpPr>
        <p:sp>
          <p:nvSpPr>
            <p:cNvPr id="115" name="Oval 11"/>
            <p:cNvSpPr/>
            <p:nvPr/>
          </p:nvSpPr>
          <p:spPr>
            <a:xfrm rot="1582756">
              <a:off x="4703499" y="2695709"/>
              <a:ext cx="2905739" cy="559769"/>
            </a:xfrm>
            <a:prstGeom prst="ellipse">
              <a:avLst/>
            </a:prstGeom>
            <a:gradFill flip="none" rotWithShape="1">
              <a:gsLst>
                <a:gs pos="0">
                  <a:schemeClr val="tx1">
                    <a:alpha val="19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5"/>
            <p:cNvSpPr/>
            <p:nvPr/>
          </p:nvSpPr>
          <p:spPr bwMode="auto">
            <a:xfrm>
              <a:off x="4199068" y="646963"/>
              <a:ext cx="6351005" cy="6325337"/>
            </a:xfrm>
            <a:custGeom>
              <a:avLst/>
              <a:gdLst>
                <a:gd name="T0" fmla="*/ 829 w 1117"/>
                <a:gd name="T1" fmla="*/ 1112 h 1113"/>
                <a:gd name="T2" fmla="*/ 819 w 1117"/>
                <a:gd name="T3" fmla="*/ 565 h 1113"/>
                <a:gd name="T4" fmla="*/ 283 w 1117"/>
                <a:gd name="T5" fmla="*/ 93 h 1113"/>
                <a:gd name="T6" fmla="*/ 343 w 1117"/>
                <a:gd name="T7" fmla="*/ 93 h 1113"/>
                <a:gd name="T8" fmla="*/ 245 w 1117"/>
                <a:gd name="T9" fmla="*/ 0 h 1113"/>
                <a:gd name="T10" fmla="*/ 149 w 1117"/>
                <a:gd name="T11" fmla="*/ 96 h 1113"/>
                <a:gd name="T12" fmla="*/ 211 w 1117"/>
                <a:gd name="T13" fmla="*/ 96 h 1113"/>
                <a:gd name="T14" fmla="*/ 279 w 1117"/>
                <a:gd name="T15" fmla="*/ 424 h 1113"/>
                <a:gd name="T16" fmla="*/ 529 w 1117"/>
                <a:gd name="T17" fmla="*/ 695 h 1113"/>
                <a:gd name="T18" fmla="*/ 0 w 1117"/>
                <a:gd name="T19" fmla="*/ 1113 h 1113"/>
                <a:gd name="T20" fmla="*/ 829 w 1117"/>
                <a:gd name="T21" fmla="*/ 1112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7" h="1113">
                  <a:moveTo>
                    <a:pt x="829" y="1112"/>
                  </a:moveTo>
                  <a:cubicBezTo>
                    <a:pt x="829" y="1112"/>
                    <a:pt x="1117" y="775"/>
                    <a:pt x="819" y="565"/>
                  </a:cubicBezTo>
                  <a:cubicBezTo>
                    <a:pt x="521" y="355"/>
                    <a:pt x="289" y="468"/>
                    <a:pt x="283" y="93"/>
                  </a:cubicBezTo>
                  <a:cubicBezTo>
                    <a:pt x="343" y="93"/>
                    <a:pt x="343" y="93"/>
                    <a:pt x="343" y="93"/>
                  </a:cubicBezTo>
                  <a:cubicBezTo>
                    <a:pt x="245" y="0"/>
                    <a:pt x="245" y="0"/>
                    <a:pt x="245" y="0"/>
                  </a:cubicBezTo>
                  <a:cubicBezTo>
                    <a:pt x="149" y="96"/>
                    <a:pt x="149" y="96"/>
                    <a:pt x="149" y="96"/>
                  </a:cubicBezTo>
                  <a:cubicBezTo>
                    <a:pt x="211" y="96"/>
                    <a:pt x="211" y="96"/>
                    <a:pt x="211" y="96"/>
                  </a:cubicBezTo>
                  <a:cubicBezTo>
                    <a:pt x="211" y="96"/>
                    <a:pt x="191" y="339"/>
                    <a:pt x="279" y="424"/>
                  </a:cubicBezTo>
                  <a:cubicBezTo>
                    <a:pt x="367" y="509"/>
                    <a:pt x="518" y="559"/>
                    <a:pt x="529" y="695"/>
                  </a:cubicBezTo>
                  <a:cubicBezTo>
                    <a:pt x="538" y="825"/>
                    <a:pt x="417" y="947"/>
                    <a:pt x="0" y="1113"/>
                  </a:cubicBezTo>
                  <a:lnTo>
                    <a:pt x="829" y="1112"/>
                  </a:lnTo>
                  <a:close/>
                </a:path>
              </a:pathLst>
            </a:custGeom>
            <a:solidFill>
              <a:schemeClr val="bg1">
                <a:lumMod val="85000"/>
              </a:schemeClr>
            </a:solidFill>
            <a:ln>
              <a:noFill/>
            </a:ln>
          </p:spPr>
          <p:txBody>
            <a:bodyPr vert="horz" wrap="square" lIns="91440" tIns="45720" rIns="91440" bIns="45720" numCol="1" anchor="t" anchorCtr="0" compatLnSpc="1"/>
            <a:lstStyle/>
            <a:p>
              <a:endParaRPr lang="en-US"/>
            </a:p>
          </p:txBody>
        </p:sp>
        <p:sp>
          <p:nvSpPr>
            <p:cNvPr id="117" name="Freeform 6"/>
            <p:cNvSpPr/>
            <p:nvPr/>
          </p:nvSpPr>
          <p:spPr bwMode="auto">
            <a:xfrm>
              <a:off x="5398644" y="1162107"/>
              <a:ext cx="3147779" cy="5797493"/>
            </a:xfrm>
            <a:custGeom>
              <a:avLst/>
              <a:gdLst>
                <a:gd name="T0" fmla="*/ 274 w 555"/>
                <a:gd name="T1" fmla="*/ 1022 h 1022"/>
                <a:gd name="T2" fmla="*/ 518 w 555"/>
                <a:gd name="T3" fmla="*/ 628 h 1022"/>
                <a:gd name="T4" fmla="*/ 38 w 555"/>
                <a:gd name="T5" fmla="*/ 0 h 1022"/>
              </a:gdLst>
              <a:ahLst/>
              <a:cxnLst>
                <a:cxn ang="0">
                  <a:pos x="T0" y="T1"/>
                </a:cxn>
                <a:cxn ang="0">
                  <a:pos x="T2" y="T3"/>
                </a:cxn>
                <a:cxn ang="0">
                  <a:pos x="T4" y="T5"/>
                </a:cxn>
              </a:cxnLst>
              <a:rect l="0" t="0" r="r" b="b"/>
              <a:pathLst>
                <a:path w="555" h="1022">
                  <a:moveTo>
                    <a:pt x="274" y="1022"/>
                  </a:moveTo>
                  <a:cubicBezTo>
                    <a:pt x="274" y="1022"/>
                    <a:pt x="555" y="831"/>
                    <a:pt x="518" y="628"/>
                  </a:cubicBezTo>
                  <a:cubicBezTo>
                    <a:pt x="477" y="411"/>
                    <a:pt x="0" y="394"/>
                    <a:pt x="38" y="0"/>
                  </a:cubicBezTo>
                </a:path>
              </a:pathLst>
            </a:custGeom>
            <a:noFill/>
            <a:ln w="31750" cap="flat">
              <a:solidFill>
                <a:schemeClr val="bg1"/>
              </a:solidFill>
              <a:prstDash val="dash"/>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0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0" y="1220125"/>
            <a:ext cx="6094645" cy="5047254"/>
            <a:chOff x="0" y="1220125"/>
            <a:chExt cx="6094645" cy="5047254"/>
          </a:xfrm>
        </p:grpSpPr>
        <p:grpSp>
          <p:nvGrpSpPr>
            <p:cNvPr id="113" name="组合 112"/>
            <p:cNvGrpSpPr/>
            <p:nvPr userDrawn="1"/>
          </p:nvGrpSpPr>
          <p:grpSpPr>
            <a:xfrm>
              <a:off x="0" y="1220125"/>
              <a:ext cx="6094645" cy="5047254"/>
              <a:chOff x="0" y="1220125"/>
              <a:chExt cx="6094645" cy="5047254"/>
            </a:xfrm>
          </p:grpSpPr>
          <p:sp>
            <p:nvSpPr>
              <p:cNvPr id="119" name="Freeform 8"/>
              <p:cNvSpPr>
                <a:spLocks noEditPoints="1"/>
              </p:cNvSpPr>
              <p:nvPr/>
            </p:nvSpPr>
            <p:spPr bwMode="auto">
              <a:xfrm>
                <a:off x="2555147" y="1461205"/>
                <a:ext cx="291676" cy="315674"/>
              </a:xfrm>
              <a:custGeom>
                <a:avLst/>
                <a:gdLst>
                  <a:gd name="T0" fmla="*/ 180 w 2662"/>
                  <a:gd name="T1" fmla="*/ 0 h 2879"/>
                  <a:gd name="T2" fmla="*/ 0 w 2662"/>
                  <a:gd name="T3" fmla="*/ 155 h 2879"/>
                  <a:gd name="T4" fmla="*/ 0 w 2662"/>
                  <a:gd name="T5" fmla="*/ 2723 h 2879"/>
                  <a:gd name="T6" fmla="*/ 177 w 2662"/>
                  <a:gd name="T7" fmla="*/ 2879 h 2879"/>
                  <a:gd name="T8" fmla="*/ 357 w 2662"/>
                  <a:gd name="T9" fmla="*/ 2723 h 2879"/>
                  <a:gd name="T10" fmla="*/ 357 w 2662"/>
                  <a:gd name="T11" fmla="*/ 155 h 2879"/>
                  <a:gd name="T12" fmla="*/ 180 w 2662"/>
                  <a:gd name="T13" fmla="*/ 0 h 2879"/>
                  <a:gd name="T14" fmla="*/ 2028 w 2662"/>
                  <a:gd name="T15" fmla="*/ 213 h 2879"/>
                  <a:gd name="T16" fmla="*/ 1018 w 2662"/>
                  <a:gd name="T17" fmla="*/ 6 h 2879"/>
                  <a:gd name="T18" fmla="*/ 501 w 2662"/>
                  <a:gd name="T19" fmla="*/ 142 h 2879"/>
                  <a:gd name="T20" fmla="*/ 499 w 2662"/>
                  <a:gd name="T21" fmla="*/ 1692 h 2879"/>
                  <a:gd name="T22" fmla="*/ 1018 w 2662"/>
                  <a:gd name="T23" fmla="*/ 1556 h 2879"/>
                  <a:gd name="T24" fmla="*/ 2028 w 2662"/>
                  <a:gd name="T25" fmla="*/ 1763 h 2879"/>
                  <a:gd name="T26" fmla="*/ 2662 w 2662"/>
                  <a:gd name="T27" fmla="*/ 1598 h 2879"/>
                  <a:gd name="T28" fmla="*/ 2662 w 2662"/>
                  <a:gd name="T29" fmla="*/ 48 h 2879"/>
                  <a:gd name="T30" fmla="*/ 2028 w 2662"/>
                  <a:gd name="T31" fmla="*/ 213 h 2879"/>
                  <a:gd name="T32" fmla="*/ 2028 w 2662"/>
                  <a:gd name="T33" fmla="*/ 213 h 2879"/>
                  <a:gd name="T34" fmla="*/ 2028 w 2662"/>
                  <a:gd name="T35" fmla="*/ 213 h 2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62" h="2879">
                    <a:moveTo>
                      <a:pt x="180" y="0"/>
                    </a:moveTo>
                    <a:cubicBezTo>
                      <a:pt x="94" y="0"/>
                      <a:pt x="0" y="69"/>
                      <a:pt x="0" y="155"/>
                    </a:cubicBezTo>
                    <a:cubicBezTo>
                      <a:pt x="0" y="2723"/>
                      <a:pt x="0" y="2723"/>
                      <a:pt x="0" y="2723"/>
                    </a:cubicBezTo>
                    <a:cubicBezTo>
                      <a:pt x="0" y="2809"/>
                      <a:pt x="92" y="2879"/>
                      <a:pt x="177" y="2879"/>
                    </a:cubicBezTo>
                    <a:cubicBezTo>
                      <a:pt x="263" y="2879"/>
                      <a:pt x="357" y="2809"/>
                      <a:pt x="357" y="2723"/>
                    </a:cubicBezTo>
                    <a:cubicBezTo>
                      <a:pt x="357" y="155"/>
                      <a:pt x="357" y="155"/>
                      <a:pt x="357" y="155"/>
                    </a:cubicBezTo>
                    <a:cubicBezTo>
                      <a:pt x="357" y="69"/>
                      <a:pt x="265" y="0"/>
                      <a:pt x="180" y="0"/>
                    </a:cubicBezTo>
                    <a:close/>
                    <a:moveTo>
                      <a:pt x="2028" y="213"/>
                    </a:moveTo>
                    <a:cubicBezTo>
                      <a:pt x="1523" y="213"/>
                      <a:pt x="1523" y="6"/>
                      <a:pt x="1018" y="6"/>
                    </a:cubicBezTo>
                    <a:cubicBezTo>
                      <a:pt x="727" y="6"/>
                      <a:pt x="501" y="142"/>
                      <a:pt x="501" y="142"/>
                    </a:cubicBezTo>
                    <a:cubicBezTo>
                      <a:pt x="499" y="1692"/>
                      <a:pt x="499" y="1692"/>
                      <a:pt x="499" y="1692"/>
                    </a:cubicBezTo>
                    <a:cubicBezTo>
                      <a:pt x="499" y="1692"/>
                      <a:pt x="727" y="1556"/>
                      <a:pt x="1018" y="1556"/>
                    </a:cubicBezTo>
                    <a:cubicBezTo>
                      <a:pt x="1523" y="1556"/>
                      <a:pt x="1523" y="1763"/>
                      <a:pt x="2028" y="1763"/>
                    </a:cubicBezTo>
                    <a:cubicBezTo>
                      <a:pt x="2344" y="1763"/>
                      <a:pt x="2662" y="1598"/>
                      <a:pt x="2662" y="1598"/>
                    </a:cubicBezTo>
                    <a:cubicBezTo>
                      <a:pt x="2662" y="48"/>
                      <a:pt x="2662" y="48"/>
                      <a:pt x="2662" y="48"/>
                    </a:cubicBezTo>
                    <a:cubicBezTo>
                      <a:pt x="2662" y="48"/>
                      <a:pt x="2344" y="213"/>
                      <a:pt x="2028" y="213"/>
                    </a:cubicBezTo>
                    <a:close/>
                    <a:moveTo>
                      <a:pt x="2028" y="213"/>
                    </a:moveTo>
                    <a:cubicBezTo>
                      <a:pt x="2028" y="213"/>
                      <a:pt x="2028" y="213"/>
                      <a:pt x="2028" y="213"/>
                    </a:cubicBezTo>
                  </a:path>
                </a:pathLst>
              </a:custGeom>
              <a:solidFill>
                <a:schemeClr val="accent1"/>
              </a:solidFill>
              <a:ln>
                <a:noFill/>
              </a:ln>
            </p:spPr>
            <p:txBody>
              <a:bodyPr vert="horz" wrap="square" lIns="91440" tIns="45720" rIns="91440" bIns="45720" numCol="1" anchor="t" anchorCtr="0" compatLnSpc="1"/>
              <a:lstStyle/>
              <a:p>
                <a:endParaRPr lang="en-US"/>
              </a:p>
            </p:txBody>
          </p:sp>
          <p:sp>
            <p:nvSpPr>
              <p:cNvPr id="120" name="任意多边形: 形状 119"/>
              <p:cNvSpPr/>
              <p:nvPr/>
            </p:nvSpPr>
            <p:spPr>
              <a:xfrm>
                <a:off x="0" y="3346172"/>
                <a:ext cx="1819933" cy="2896402"/>
              </a:xfrm>
              <a:custGeom>
                <a:avLst/>
                <a:gdLst>
                  <a:gd name="connsiteX0" fmla="*/ 575078 w 1819933"/>
                  <a:gd name="connsiteY0" fmla="*/ 0 h 2896402"/>
                  <a:gd name="connsiteX1" fmla="*/ 1053093 w 1819933"/>
                  <a:gd name="connsiteY1" fmla="*/ 256646 h 2896402"/>
                  <a:gd name="connsiteX2" fmla="*/ 1309030 w 1819933"/>
                  <a:gd name="connsiteY2" fmla="*/ 168522 h 2896402"/>
                  <a:gd name="connsiteX3" fmla="*/ 1819933 w 1819933"/>
                  <a:gd name="connsiteY3" fmla="*/ 568631 h 2896402"/>
                  <a:gd name="connsiteX4" fmla="*/ 1612659 w 1819933"/>
                  <a:gd name="connsiteY4" fmla="*/ 2896402 h 2896402"/>
                  <a:gd name="connsiteX5" fmla="*/ 0 w 1819933"/>
                  <a:gd name="connsiteY5" fmla="*/ 2841632 h 2896402"/>
                  <a:gd name="connsiteX6" fmla="*/ 0 w 1819933"/>
                  <a:gd name="connsiteY6" fmla="*/ 152872 h 2896402"/>
                  <a:gd name="connsiteX7" fmla="*/ 183103 w 1819933"/>
                  <a:gd name="connsiteY7" fmla="*/ 257899 h 2896402"/>
                  <a:gd name="connsiteX8" fmla="*/ 217689 w 1819933"/>
                  <a:gd name="connsiteY8" fmla="*/ 188465 h 289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9933" h="2896402">
                    <a:moveTo>
                      <a:pt x="575078" y="0"/>
                    </a:moveTo>
                    <a:cubicBezTo>
                      <a:pt x="754804" y="93066"/>
                      <a:pt x="873368" y="163580"/>
                      <a:pt x="1053093" y="256646"/>
                    </a:cubicBezTo>
                    <a:lnTo>
                      <a:pt x="1309030" y="168522"/>
                    </a:lnTo>
                    <a:lnTo>
                      <a:pt x="1819933" y="568631"/>
                    </a:lnTo>
                    <a:lnTo>
                      <a:pt x="1612659" y="2896402"/>
                    </a:lnTo>
                    <a:lnTo>
                      <a:pt x="0" y="2841632"/>
                    </a:lnTo>
                    <a:lnTo>
                      <a:pt x="0" y="152872"/>
                    </a:lnTo>
                    <a:lnTo>
                      <a:pt x="183103" y="257899"/>
                    </a:lnTo>
                    <a:lnTo>
                      <a:pt x="217689" y="188465"/>
                    </a:lnTo>
                    <a:close/>
                  </a:path>
                </a:pathLst>
              </a:custGeom>
              <a:solidFill>
                <a:srgbClr val="9A9A9A">
                  <a:alpha val="16000"/>
                </a:srgbClr>
              </a:solidFill>
              <a:ln>
                <a:noFill/>
              </a:ln>
            </p:spPr>
            <p:txBody>
              <a:bodyPr wrap="square">
                <a:noAutofit/>
              </a:bodyPr>
              <a:lstStyle/>
              <a:p>
                <a:endParaRPr lang="en-US" dirty="0"/>
              </a:p>
            </p:txBody>
          </p:sp>
          <p:sp>
            <p:nvSpPr>
              <p:cNvPr id="121" name="Freeform 99"/>
              <p:cNvSpPr/>
              <p:nvPr/>
            </p:nvSpPr>
            <p:spPr>
              <a:xfrm>
                <a:off x="546317" y="3376757"/>
                <a:ext cx="1273616" cy="1218398"/>
              </a:xfrm>
              <a:custGeom>
                <a:avLst/>
                <a:gdLst>
                  <a:gd name="connsiteX0" fmla="*/ 95349 w 1403016"/>
                  <a:gd name="connsiteY0" fmla="*/ 0 h 1559972"/>
                  <a:gd name="connsiteX1" fmla="*/ 169645 w 1403016"/>
                  <a:gd name="connsiteY1" fmla="*/ 45697 h 1559972"/>
                  <a:gd name="connsiteX2" fmla="*/ 558265 w 1403016"/>
                  <a:gd name="connsiteY2" fmla="*/ 289437 h 1559972"/>
                  <a:gd name="connsiteX3" fmla="*/ 840205 w 1403016"/>
                  <a:gd name="connsiteY3" fmla="*/ 176607 h 1559972"/>
                  <a:gd name="connsiteX4" fmla="*/ 1403016 w 1403016"/>
                  <a:gd name="connsiteY4" fmla="*/ 688886 h 1559972"/>
                  <a:gd name="connsiteX5" fmla="*/ 1356283 w 1403016"/>
                  <a:gd name="connsiteY5" fmla="*/ 1298877 h 1559972"/>
                  <a:gd name="connsiteX6" fmla="*/ 385010 w 1403016"/>
                  <a:gd name="connsiteY6" fmla="*/ 1559972 h 1559972"/>
                  <a:gd name="connsiteX7" fmla="*/ 288758 w 1403016"/>
                  <a:gd name="connsiteY7" fmla="*/ 1030582 h 1559972"/>
                  <a:gd name="connsiteX8" fmla="*/ 0 w 1403016"/>
                  <a:gd name="connsiteY8" fmla="*/ 655197 h 1559972"/>
                  <a:gd name="connsiteX9" fmla="*/ 86627 w 1403016"/>
                  <a:gd name="connsiteY9" fmla="*/ 679 h 15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3016" h="1559972">
                    <a:moveTo>
                      <a:pt x="95349" y="0"/>
                    </a:moveTo>
                    <a:lnTo>
                      <a:pt x="169645" y="45697"/>
                    </a:lnTo>
                    <a:cubicBezTo>
                      <a:pt x="299185" y="126944"/>
                      <a:pt x="409776" y="200069"/>
                      <a:pt x="558265" y="289437"/>
                    </a:cubicBezTo>
                    <a:lnTo>
                      <a:pt x="840205" y="176607"/>
                    </a:lnTo>
                    <a:lnTo>
                      <a:pt x="1403016" y="688886"/>
                    </a:lnTo>
                    <a:lnTo>
                      <a:pt x="1356283" y="1298877"/>
                    </a:lnTo>
                    <a:lnTo>
                      <a:pt x="385010" y="1559972"/>
                    </a:lnTo>
                    <a:lnTo>
                      <a:pt x="288758" y="1030582"/>
                    </a:lnTo>
                    <a:lnTo>
                      <a:pt x="0" y="655197"/>
                    </a:lnTo>
                    <a:lnTo>
                      <a:pt x="86627" y="679"/>
                    </a:lnTo>
                    <a:close/>
                  </a:path>
                </a:pathLst>
              </a:custGeom>
              <a:solidFill>
                <a:srgbClr val="F7F7F7"/>
              </a:solidFill>
              <a:ln>
                <a:noFill/>
              </a:ln>
            </p:spPr>
            <p:txBody>
              <a:bodyPr/>
              <a:lstStyle/>
              <a:p>
                <a:endParaRPr lang="en-US" dirty="0"/>
              </a:p>
            </p:txBody>
          </p:sp>
          <p:sp>
            <p:nvSpPr>
              <p:cNvPr id="122" name="Freeform 100"/>
              <p:cNvSpPr/>
              <p:nvPr/>
            </p:nvSpPr>
            <p:spPr>
              <a:xfrm>
                <a:off x="3586975" y="3037601"/>
                <a:ext cx="2507670" cy="3195022"/>
              </a:xfrm>
              <a:custGeom>
                <a:avLst/>
                <a:gdLst>
                  <a:gd name="connsiteX0" fmla="*/ 163630 w 2762451"/>
                  <a:gd name="connsiteY0" fmla="*/ 1289785 h 4090737"/>
                  <a:gd name="connsiteX1" fmla="*/ 279133 w 2762451"/>
                  <a:gd name="connsiteY1" fmla="*/ 1193533 h 4090737"/>
                  <a:gd name="connsiteX2" fmla="*/ 481264 w 2762451"/>
                  <a:gd name="connsiteY2" fmla="*/ 1126156 h 4090737"/>
                  <a:gd name="connsiteX3" fmla="*/ 1155032 w 2762451"/>
                  <a:gd name="connsiteY3" fmla="*/ 0 h 4090737"/>
                  <a:gd name="connsiteX4" fmla="*/ 1674796 w 2762451"/>
                  <a:gd name="connsiteY4" fmla="*/ 423512 h 4090737"/>
                  <a:gd name="connsiteX5" fmla="*/ 1867301 w 2762451"/>
                  <a:gd name="connsiteY5" fmla="*/ 991402 h 4090737"/>
                  <a:gd name="connsiteX6" fmla="*/ 2098308 w 2762451"/>
                  <a:gd name="connsiteY6" fmla="*/ 1058779 h 4090737"/>
                  <a:gd name="connsiteX7" fmla="*/ 2310064 w 2762451"/>
                  <a:gd name="connsiteY7" fmla="*/ 1472665 h 4090737"/>
                  <a:gd name="connsiteX8" fmla="*/ 2454443 w 2762451"/>
                  <a:gd name="connsiteY8" fmla="*/ 1607419 h 4090737"/>
                  <a:gd name="connsiteX9" fmla="*/ 2579571 w 2762451"/>
                  <a:gd name="connsiteY9" fmla="*/ 1568918 h 4090737"/>
                  <a:gd name="connsiteX10" fmla="*/ 2762451 w 2762451"/>
                  <a:gd name="connsiteY10" fmla="*/ 3012707 h 4090737"/>
                  <a:gd name="connsiteX11" fmla="*/ 2723950 w 2762451"/>
                  <a:gd name="connsiteY11" fmla="*/ 3426594 h 4090737"/>
                  <a:gd name="connsiteX12" fmla="*/ 2666198 w 2762451"/>
                  <a:gd name="connsiteY12" fmla="*/ 4090737 h 4090737"/>
                  <a:gd name="connsiteX13" fmla="*/ 0 w 2762451"/>
                  <a:gd name="connsiteY13" fmla="*/ 1607419 h 4090737"/>
                  <a:gd name="connsiteX14" fmla="*/ 163630 w 2762451"/>
                  <a:gd name="connsiteY14" fmla="*/ 1289785 h 409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62451" h="4090737">
                    <a:moveTo>
                      <a:pt x="163630" y="1289785"/>
                    </a:moveTo>
                    <a:lnTo>
                      <a:pt x="279133" y="1193533"/>
                    </a:lnTo>
                    <a:lnTo>
                      <a:pt x="481264" y="1126156"/>
                    </a:lnTo>
                    <a:lnTo>
                      <a:pt x="1155032" y="0"/>
                    </a:lnTo>
                    <a:lnTo>
                      <a:pt x="1674796" y="423512"/>
                    </a:lnTo>
                    <a:lnTo>
                      <a:pt x="1867301" y="991402"/>
                    </a:lnTo>
                    <a:lnTo>
                      <a:pt x="2098308" y="1058779"/>
                    </a:lnTo>
                    <a:lnTo>
                      <a:pt x="2310064" y="1472665"/>
                    </a:lnTo>
                    <a:lnTo>
                      <a:pt x="2454443" y="1607419"/>
                    </a:lnTo>
                    <a:lnTo>
                      <a:pt x="2579571" y="1568918"/>
                    </a:lnTo>
                    <a:lnTo>
                      <a:pt x="2762451" y="3012707"/>
                    </a:lnTo>
                    <a:lnTo>
                      <a:pt x="2723950" y="3426594"/>
                    </a:lnTo>
                    <a:lnTo>
                      <a:pt x="2666198" y="4090737"/>
                    </a:lnTo>
                    <a:lnTo>
                      <a:pt x="0" y="1607419"/>
                    </a:lnTo>
                    <a:lnTo>
                      <a:pt x="163630" y="1289785"/>
                    </a:lnTo>
                    <a:close/>
                  </a:path>
                </a:pathLst>
              </a:custGeom>
              <a:solidFill>
                <a:srgbClr val="9A9A9A">
                  <a:alpha val="16000"/>
                </a:srgbClr>
              </a:solidFill>
              <a:ln>
                <a:noFill/>
              </a:ln>
            </p:spPr>
            <p:txBody>
              <a:bodyPr/>
              <a:lstStyle/>
              <a:p>
                <a:endParaRPr lang="en-US" dirty="0">
                  <a:solidFill>
                    <a:schemeClr val="tx1"/>
                  </a:solidFill>
                </a:endParaRPr>
              </a:p>
            </p:txBody>
          </p:sp>
          <p:sp>
            <p:nvSpPr>
              <p:cNvPr id="123" name="Freeform 101"/>
              <p:cNvSpPr/>
              <p:nvPr/>
            </p:nvSpPr>
            <p:spPr>
              <a:xfrm>
                <a:off x="4599622" y="3078144"/>
                <a:ext cx="1495023" cy="3154479"/>
              </a:xfrm>
              <a:custGeom>
                <a:avLst/>
                <a:gdLst>
                  <a:gd name="connsiteX0" fmla="*/ 8443 w 1646918"/>
                  <a:gd name="connsiteY0" fmla="*/ 0 h 4038828"/>
                  <a:gd name="connsiteX1" fmla="*/ 138610 w 1646918"/>
                  <a:gd name="connsiteY1" fmla="*/ 28848 h 4038828"/>
                  <a:gd name="connsiteX2" fmla="*/ 559263 w 1646918"/>
                  <a:gd name="connsiteY2" fmla="*/ 371603 h 4038828"/>
                  <a:gd name="connsiteX3" fmla="*/ 751768 w 1646918"/>
                  <a:gd name="connsiteY3" fmla="*/ 939493 h 4038828"/>
                  <a:gd name="connsiteX4" fmla="*/ 982775 w 1646918"/>
                  <a:gd name="connsiteY4" fmla="*/ 1006870 h 4038828"/>
                  <a:gd name="connsiteX5" fmla="*/ 1194531 w 1646918"/>
                  <a:gd name="connsiteY5" fmla="*/ 1420756 h 4038828"/>
                  <a:gd name="connsiteX6" fmla="*/ 1338910 w 1646918"/>
                  <a:gd name="connsiteY6" fmla="*/ 1555510 h 4038828"/>
                  <a:gd name="connsiteX7" fmla="*/ 1464038 w 1646918"/>
                  <a:gd name="connsiteY7" fmla="*/ 1517009 h 4038828"/>
                  <a:gd name="connsiteX8" fmla="*/ 1646918 w 1646918"/>
                  <a:gd name="connsiteY8" fmla="*/ 2960798 h 4038828"/>
                  <a:gd name="connsiteX9" fmla="*/ 1608417 w 1646918"/>
                  <a:gd name="connsiteY9" fmla="*/ 3374685 h 4038828"/>
                  <a:gd name="connsiteX10" fmla="*/ 1550665 w 1646918"/>
                  <a:gd name="connsiteY10" fmla="*/ 4038828 h 4038828"/>
                  <a:gd name="connsiteX11" fmla="*/ 446919 w 1646918"/>
                  <a:gd name="connsiteY11" fmla="*/ 3010790 h 4038828"/>
                  <a:gd name="connsiteX12" fmla="*/ 366758 w 1646918"/>
                  <a:gd name="connsiteY12" fmla="*/ 2903047 h 4038828"/>
                  <a:gd name="connsiteX13" fmla="*/ 732518 w 1646918"/>
                  <a:gd name="connsiteY13" fmla="*/ 1642137 h 4038828"/>
                  <a:gd name="connsiteX14" fmla="*/ 106876 w 1646918"/>
                  <a:gd name="connsiteY14" fmla="*/ 1247502 h 4038828"/>
                  <a:gd name="connsiteX15" fmla="*/ 251255 w 1646918"/>
                  <a:gd name="connsiteY15" fmla="*/ 535232 h 4038828"/>
                  <a:gd name="connsiteX16" fmla="*/ 0 w 1646918"/>
                  <a:gd name="connsiteY16" fmla="*/ 14111 h 403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46918" h="4038828">
                    <a:moveTo>
                      <a:pt x="8443" y="0"/>
                    </a:moveTo>
                    <a:lnTo>
                      <a:pt x="138610" y="28848"/>
                    </a:lnTo>
                    <a:lnTo>
                      <a:pt x="559263" y="371603"/>
                    </a:lnTo>
                    <a:lnTo>
                      <a:pt x="751768" y="939493"/>
                    </a:lnTo>
                    <a:lnTo>
                      <a:pt x="982775" y="1006870"/>
                    </a:lnTo>
                    <a:lnTo>
                      <a:pt x="1194531" y="1420756"/>
                    </a:lnTo>
                    <a:lnTo>
                      <a:pt x="1338910" y="1555510"/>
                    </a:lnTo>
                    <a:lnTo>
                      <a:pt x="1464038" y="1517009"/>
                    </a:lnTo>
                    <a:lnTo>
                      <a:pt x="1646918" y="2960798"/>
                    </a:lnTo>
                    <a:lnTo>
                      <a:pt x="1608417" y="3374685"/>
                    </a:lnTo>
                    <a:lnTo>
                      <a:pt x="1550665" y="4038828"/>
                    </a:lnTo>
                    <a:lnTo>
                      <a:pt x="446919" y="3010790"/>
                    </a:lnTo>
                    <a:lnTo>
                      <a:pt x="366758" y="2903047"/>
                    </a:lnTo>
                    <a:lnTo>
                      <a:pt x="732518" y="1642137"/>
                    </a:lnTo>
                    <a:lnTo>
                      <a:pt x="106876" y="1247502"/>
                    </a:lnTo>
                    <a:lnTo>
                      <a:pt x="251255" y="535232"/>
                    </a:lnTo>
                    <a:lnTo>
                      <a:pt x="0" y="14111"/>
                    </a:lnTo>
                    <a:close/>
                  </a:path>
                </a:pathLst>
              </a:custGeom>
              <a:solidFill>
                <a:srgbClr val="F7F7F7"/>
              </a:solidFill>
              <a:ln>
                <a:noFill/>
              </a:ln>
            </p:spPr>
            <p:txBody>
              <a:bodyPr/>
              <a:lstStyle/>
              <a:p>
                <a:endParaRPr lang="en-US" dirty="0">
                  <a:solidFill>
                    <a:schemeClr val="tx1"/>
                  </a:solidFill>
                </a:endParaRPr>
              </a:p>
            </p:txBody>
          </p:sp>
          <p:sp>
            <p:nvSpPr>
              <p:cNvPr id="124" name="任意多边形: 形状 123"/>
              <p:cNvSpPr/>
              <p:nvPr/>
            </p:nvSpPr>
            <p:spPr>
              <a:xfrm>
                <a:off x="0" y="1802698"/>
                <a:ext cx="6033482" cy="4464521"/>
              </a:xfrm>
              <a:custGeom>
                <a:avLst/>
                <a:gdLst>
                  <a:gd name="connsiteX0" fmla="*/ 2643323 w 6033482"/>
                  <a:gd name="connsiteY0" fmla="*/ 0 h 4464521"/>
                  <a:gd name="connsiteX1" fmla="*/ 2861761 w 6033482"/>
                  <a:gd name="connsiteY1" fmla="*/ 777640 h 4464521"/>
                  <a:gd name="connsiteX2" fmla="*/ 3150099 w 6033482"/>
                  <a:gd name="connsiteY2" fmla="*/ 1057241 h 4464521"/>
                  <a:gd name="connsiteX3" fmla="*/ 3403487 w 6033482"/>
                  <a:gd name="connsiteY3" fmla="*/ 1607705 h 4464521"/>
                  <a:gd name="connsiteX4" fmla="*/ 3648138 w 6033482"/>
                  <a:gd name="connsiteY4" fmla="*/ 1467905 h 4464521"/>
                  <a:gd name="connsiteX5" fmla="*/ 3658999 w 6033482"/>
                  <a:gd name="connsiteY5" fmla="*/ 1669151 h 4464521"/>
                  <a:gd name="connsiteX6" fmla="*/ 3616727 w 6033482"/>
                  <a:gd name="connsiteY6" fmla="*/ 1772910 h 4464521"/>
                  <a:gd name="connsiteX7" fmla="*/ 3884051 w 6033482"/>
                  <a:gd name="connsiteY7" fmla="*/ 2184382 h 4464521"/>
                  <a:gd name="connsiteX8" fmla="*/ 4117677 w 6033482"/>
                  <a:gd name="connsiteY8" fmla="*/ 2579908 h 4464521"/>
                  <a:gd name="connsiteX9" fmla="*/ 4356080 w 6033482"/>
                  <a:gd name="connsiteY9" fmla="*/ 2768733 h 4464521"/>
                  <a:gd name="connsiteX10" fmla="*/ 4546600 w 6033482"/>
                  <a:gd name="connsiteY10" fmla="*/ 3154637 h 4464521"/>
                  <a:gd name="connsiteX11" fmla="*/ 4944492 w 6033482"/>
                  <a:gd name="connsiteY11" fmla="*/ 3228472 h 4464521"/>
                  <a:gd name="connsiteX12" fmla="*/ 5314951 w 6033482"/>
                  <a:gd name="connsiteY12" fmla="*/ 3294338 h 4464521"/>
                  <a:gd name="connsiteX13" fmla="*/ 6033482 w 6033482"/>
                  <a:gd name="connsiteY13" fmla="*/ 4438663 h 4464521"/>
                  <a:gd name="connsiteX14" fmla="*/ 0 w 6033482"/>
                  <a:gd name="connsiteY14" fmla="*/ 4464521 h 4464521"/>
                  <a:gd name="connsiteX15" fmla="*/ 0 w 6033482"/>
                  <a:gd name="connsiteY15" fmla="*/ 2962022 h 4464521"/>
                  <a:gd name="connsiteX16" fmla="*/ 39541 w 6033482"/>
                  <a:gd name="connsiteY16" fmla="*/ 2962022 h 4464521"/>
                  <a:gd name="connsiteX17" fmla="*/ 467679 w 6033482"/>
                  <a:gd name="connsiteY17" fmla="*/ 2673683 h 4464521"/>
                  <a:gd name="connsiteX18" fmla="*/ 1000668 w 6033482"/>
                  <a:gd name="connsiteY18" fmla="*/ 2062057 h 4464521"/>
                  <a:gd name="connsiteX19" fmla="*/ 1323956 w 6033482"/>
                  <a:gd name="connsiteY19" fmla="*/ 1992156 h 4464521"/>
                  <a:gd name="connsiteX20" fmla="*/ 1472495 w 6033482"/>
                  <a:gd name="connsiteY20" fmla="*/ 1415480 h 4464521"/>
                  <a:gd name="connsiteX21" fmla="*/ 1725882 w 6033482"/>
                  <a:gd name="connsiteY21" fmla="*/ 996079 h 4464521"/>
                  <a:gd name="connsiteX22" fmla="*/ 2031696 w 6033482"/>
                  <a:gd name="connsiteY22" fmla="*/ 244651 h 446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33482" h="4464521">
                    <a:moveTo>
                      <a:pt x="2643323" y="0"/>
                    </a:moveTo>
                    <a:lnTo>
                      <a:pt x="2861761" y="777640"/>
                    </a:lnTo>
                    <a:lnTo>
                      <a:pt x="3150099" y="1057241"/>
                    </a:lnTo>
                    <a:lnTo>
                      <a:pt x="3403487" y="1607705"/>
                    </a:lnTo>
                    <a:lnTo>
                      <a:pt x="3648138" y="1467905"/>
                    </a:lnTo>
                    <a:cubicBezTo>
                      <a:pt x="3647915" y="1528582"/>
                      <a:pt x="3657300" y="1620003"/>
                      <a:pt x="3658999" y="1669151"/>
                    </a:cubicBezTo>
                    <a:cubicBezTo>
                      <a:pt x="3645550" y="1701176"/>
                      <a:pt x="3603277" y="1744729"/>
                      <a:pt x="3616727" y="1772910"/>
                    </a:cubicBezTo>
                    <a:lnTo>
                      <a:pt x="3884051" y="2184382"/>
                    </a:lnTo>
                    <a:lnTo>
                      <a:pt x="4117677" y="2579908"/>
                    </a:lnTo>
                    <a:lnTo>
                      <a:pt x="4356080" y="2768733"/>
                    </a:lnTo>
                    <a:cubicBezTo>
                      <a:pt x="4436520" y="2929118"/>
                      <a:pt x="4466160" y="2994252"/>
                      <a:pt x="4546600" y="3154637"/>
                    </a:cubicBezTo>
                    <a:lnTo>
                      <a:pt x="4944492" y="3228472"/>
                    </a:lnTo>
                    <a:cubicBezTo>
                      <a:pt x="5015062" y="3307576"/>
                      <a:pt x="5244381" y="3215233"/>
                      <a:pt x="5314951" y="3294338"/>
                    </a:cubicBezTo>
                    <a:lnTo>
                      <a:pt x="6033482" y="4438663"/>
                    </a:lnTo>
                    <a:lnTo>
                      <a:pt x="0" y="4464521"/>
                    </a:lnTo>
                    <a:lnTo>
                      <a:pt x="0" y="2962022"/>
                    </a:lnTo>
                    <a:lnTo>
                      <a:pt x="39541" y="2962022"/>
                    </a:lnTo>
                    <a:lnTo>
                      <a:pt x="467679" y="2673683"/>
                    </a:lnTo>
                    <a:lnTo>
                      <a:pt x="1000668" y="2062057"/>
                    </a:lnTo>
                    <a:lnTo>
                      <a:pt x="1323956" y="1992156"/>
                    </a:lnTo>
                    <a:lnTo>
                      <a:pt x="1472495" y="1415480"/>
                    </a:lnTo>
                    <a:lnTo>
                      <a:pt x="1725882" y="996079"/>
                    </a:lnTo>
                    <a:lnTo>
                      <a:pt x="2031696" y="244651"/>
                    </a:lnTo>
                    <a:close/>
                  </a:path>
                </a:pathLst>
              </a:custGeom>
              <a:solidFill>
                <a:schemeClr val="bg1">
                  <a:lumMod val="85000"/>
                </a:schemeClr>
              </a:solidFill>
              <a:ln w="6350" cap="flat" cmpd="sng" algn="ctr">
                <a:solidFill>
                  <a:srgbClr val="DCDCDC"/>
                </a:solidFill>
                <a:prstDash val="solid"/>
                <a:round/>
                <a:headEnd type="none" w="med" len="med"/>
                <a:tailEnd type="none" w="med" len="med"/>
              </a:ln>
            </p:spPr>
            <p:txBody>
              <a:bodyPr wrap="square">
                <a:noAutofit/>
              </a:bodyPr>
              <a:lstStyle/>
              <a:p>
                <a:endParaRPr lang="en-US" dirty="0">
                  <a:solidFill>
                    <a:schemeClr val="tx1"/>
                  </a:solidFill>
                </a:endParaRPr>
              </a:p>
            </p:txBody>
          </p:sp>
          <p:sp>
            <p:nvSpPr>
              <p:cNvPr id="125" name="Freeform 103"/>
              <p:cNvSpPr/>
              <p:nvPr/>
            </p:nvSpPr>
            <p:spPr>
              <a:xfrm>
                <a:off x="1815172" y="1807439"/>
                <a:ext cx="4218309" cy="4439195"/>
              </a:xfrm>
              <a:custGeom>
                <a:avLst/>
                <a:gdLst>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973179 w 3984859"/>
                  <a:gd name="connsiteY12" fmla="*/ 3305867 h 4890220"/>
                  <a:gd name="connsiteX13" fmla="*/ 1578543 w 3984859"/>
                  <a:gd name="connsiteY13" fmla="*/ 3402120 h 4890220"/>
                  <a:gd name="connsiteX14" fmla="*/ 895150 w 3984859"/>
                  <a:gd name="connsiteY14" fmla="*/ 31614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0-1" fmla="*/ 251725 w 3984859"/>
                  <a:gd name="connsiteY0-2" fmla="*/ 0 h 4890220"/>
                  <a:gd name="connsiteX1-3" fmla="*/ 490889 w 3984859"/>
                  <a:gd name="connsiteY1-4" fmla="*/ 851425 h 4890220"/>
                  <a:gd name="connsiteX2-5" fmla="*/ 808522 w 3984859"/>
                  <a:gd name="connsiteY2-6" fmla="*/ 1159433 h 4890220"/>
                  <a:gd name="connsiteX3-7" fmla="*/ 1087655 w 3984859"/>
                  <a:gd name="connsiteY3-8" fmla="*/ 1765825 h 4890220"/>
                  <a:gd name="connsiteX4-9" fmla="*/ 1357162 w 3984859"/>
                  <a:gd name="connsiteY4-10" fmla="*/ 1611821 h 4890220"/>
                  <a:gd name="connsiteX5-11" fmla="*/ 1617044 w 3984859"/>
                  <a:gd name="connsiteY5-12" fmla="*/ 2401092 h 4890220"/>
                  <a:gd name="connsiteX6-13" fmla="*/ 2021305 w 3984859"/>
                  <a:gd name="connsiteY6-14" fmla="*/ 2766852 h 4890220"/>
                  <a:gd name="connsiteX7-15" fmla="*/ 2444817 w 3984859"/>
                  <a:gd name="connsiteY7-16" fmla="*/ 2632099 h 4890220"/>
                  <a:gd name="connsiteX8-17" fmla="*/ 2820202 w 3984859"/>
                  <a:gd name="connsiteY8-18" fmla="*/ 2872730 h 4890220"/>
                  <a:gd name="connsiteX9-19" fmla="*/ 3984859 w 3984859"/>
                  <a:gd name="connsiteY9-20" fmla="*/ 4884410 h 4890220"/>
                  <a:gd name="connsiteX10-21" fmla="*/ 2629207 w 3984859"/>
                  <a:gd name="connsiteY10-22" fmla="*/ 4890220 h 4890220"/>
                  <a:gd name="connsiteX11-23" fmla="*/ 2540951 w 3984859"/>
                  <a:gd name="connsiteY11-24" fmla="*/ 4686873 h 4890220"/>
                  <a:gd name="connsiteX12-25" fmla="*/ 1973179 w 3984859"/>
                  <a:gd name="connsiteY12-26" fmla="*/ 3305867 h 4890220"/>
                  <a:gd name="connsiteX13-27" fmla="*/ 1578543 w 3984859"/>
                  <a:gd name="connsiteY13-28" fmla="*/ 3402120 h 4890220"/>
                  <a:gd name="connsiteX14-29" fmla="*/ 615750 w 3984859"/>
                  <a:gd name="connsiteY14-30" fmla="*/ 3059888 h 4890220"/>
                  <a:gd name="connsiteX15-31" fmla="*/ 375385 w 3984859"/>
                  <a:gd name="connsiteY15-32" fmla="*/ 2006456 h 4890220"/>
                  <a:gd name="connsiteX16-33" fmla="*/ 221381 w 3984859"/>
                  <a:gd name="connsiteY16-34" fmla="*/ 1823576 h 4890220"/>
                  <a:gd name="connsiteX17-35" fmla="*/ 336884 w 3984859"/>
                  <a:gd name="connsiteY17-36" fmla="*/ 1197934 h 4890220"/>
                  <a:gd name="connsiteX18-37" fmla="*/ 0 w 3984859"/>
                  <a:gd name="connsiteY18-38" fmla="*/ 755172 h 4890220"/>
                  <a:gd name="connsiteX19" fmla="*/ 251725 w 3984859"/>
                  <a:gd name="connsiteY19" fmla="*/ 0 h 4890220"/>
                  <a:gd name="connsiteX0-39" fmla="*/ 251725 w 3984859"/>
                  <a:gd name="connsiteY0-40" fmla="*/ 0 h 4890220"/>
                  <a:gd name="connsiteX1-41" fmla="*/ 490889 w 3984859"/>
                  <a:gd name="connsiteY1-42" fmla="*/ 851425 h 4890220"/>
                  <a:gd name="connsiteX2-43" fmla="*/ 808522 w 3984859"/>
                  <a:gd name="connsiteY2-44" fmla="*/ 1159433 h 4890220"/>
                  <a:gd name="connsiteX3-45" fmla="*/ 1087655 w 3984859"/>
                  <a:gd name="connsiteY3-46" fmla="*/ 1765825 h 4890220"/>
                  <a:gd name="connsiteX4-47" fmla="*/ 1357162 w 3984859"/>
                  <a:gd name="connsiteY4-48" fmla="*/ 1611821 h 4890220"/>
                  <a:gd name="connsiteX5-49" fmla="*/ 1617044 w 3984859"/>
                  <a:gd name="connsiteY5-50" fmla="*/ 2401092 h 4890220"/>
                  <a:gd name="connsiteX6-51" fmla="*/ 2021305 w 3984859"/>
                  <a:gd name="connsiteY6-52" fmla="*/ 2766852 h 4890220"/>
                  <a:gd name="connsiteX7-53" fmla="*/ 2444817 w 3984859"/>
                  <a:gd name="connsiteY7-54" fmla="*/ 2632099 h 4890220"/>
                  <a:gd name="connsiteX8-55" fmla="*/ 2820202 w 3984859"/>
                  <a:gd name="connsiteY8-56" fmla="*/ 2872730 h 4890220"/>
                  <a:gd name="connsiteX9-57" fmla="*/ 3984859 w 3984859"/>
                  <a:gd name="connsiteY9-58" fmla="*/ 4884410 h 4890220"/>
                  <a:gd name="connsiteX10-59" fmla="*/ 2629207 w 3984859"/>
                  <a:gd name="connsiteY10-60" fmla="*/ 4890220 h 4890220"/>
                  <a:gd name="connsiteX11-61" fmla="*/ 2540951 w 3984859"/>
                  <a:gd name="connsiteY11-62" fmla="*/ 4686873 h 4890220"/>
                  <a:gd name="connsiteX12-63" fmla="*/ 1973179 w 3984859"/>
                  <a:gd name="connsiteY12-64" fmla="*/ 3305867 h 4890220"/>
                  <a:gd name="connsiteX13-65" fmla="*/ 1286443 w 3984859"/>
                  <a:gd name="connsiteY13-66" fmla="*/ 3427520 h 4890220"/>
                  <a:gd name="connsiteX14-67" fmla="*/ 615750 w 3984859"/>
                  <a:gd name="connsiteY14-68" fmla="*/ 3059888 h 4890220"/>
                  <a:gd name="connsiteX15-69" fmla="*/ 375385 w 3984859"/>
                  <a:gd name="connsiteY15-70" fmla="*/ 2006456 h 4890220"/>
                  <a:gd name="connsiteX16-71" fmla="*/ 221381 w 3984859"/>
                  <a:gd name="connsiteY16-72" fmla="*/ 1823576 h 4890220"/>
                  <a:gd name="connsiteX17-73" fmla="*/ 336884 w 3984859"/>
                  <a:gd name="connsiteY17-74" fmla="*/ 1197934 h 4890220"/>
                  <a:gd name="connsiteX18-75" fmla="*/ 0 w 3984859"/>
                  <a:gd name="connsiteY18-76" fmla="*/ 755172 h 4890220"/>
                  <a:gd name="connsiteX19-77" fmla="*/ 251725 w 3984859"/>
                  <a:gd name="connsiteY19-78" fmla="*/ 0 h 4890220"/>
                  <a:gd name="connsiteX0-79" fmla="*/ 251725 w 3984859"/>
                  <a:gd name="connsiteY0-80" fmla="*/ 0 h 4890220"/>
                  <a:gd name="connsiteX1-81" fmla="*/ 490889 w 3984859"/>
                  <a:gd name="connsiteY1-82" fmla="*/ 851425 h 4890220"/>
                  <a:gd name="connsiteX2-83" fmla="*/ 808522 w 3984859"/>
                  <a:gd name="connsiteY2-84" fmla="*/ 1159433 h 4890220"/>
                  <a:gd name="connsiteX3-85" fmla="*/ 1087655 w 3984859"/>
                  <a:gd name="connsiteY3-86" fmla="*/ 1765825 h 4890220"/>
                  <a:gd name="connsiteX4-87" fmla="*/ 1357162 w 3984859"/>
                  <a:gd name="connsiteY4-88" fmla="*/ 1611821 h 4890220"/>
                  <a:gd name="connsiteX5-89" fmla="*/ 1617044 w 3984859"/>
                  <a:gd name="connsiteY5-90" fmla="*/ 2401092 h 4890220"/>
                  <a:gd name="connsiteX6-91" fmla="*/ 2021305 w 3984859"/>
                  <a:gd name="connsiteY6-92" fmla="*/ 2766852 h 4890220"/>
                  <a:gd name="connsiteX7-93" fmla="*/ 2444817 w 3984859"/>
                  <a:gd name="connsiteY7-94" fmla="*/ 2632099 h 4890220"/>
                  <a:gd name="connsiteX8-95" fmla="*/ 2820202 w 3984859"/>
                  <a:gd name="connsiteY8-96" fmla="*/ 2872730 h 4890220"/>
                  <a:gd name="connsiteX9-97" fmla="*/ 3984859 w 3984859"/>
                  <a:gd name="connsiteY9-98" fmla="*/ 4884410 h 4890220"/>
                  <a:gd name="connsiteX10-99" fmla="*/ 2629207 w 3984859"/>
                  <a:gd name="connsiteY10-100" fmla="*/ 4890220 h 4890220"/>
                  <a:gd name="connsiteX11-101" fmla="*/ 2540951 w 3984859"/>
                  <a:gd name="connsiteY11-102" fmla="*/ 4686873 h 4890220"/>
                  <a:gd name="connsiteX12-103" fmla="*/ 1782679 w 3984859"/>
                  <a:gd name="connsiteY12-104" fmla="*/ 3610667 h 4890220"/>
                  <a:gd name="connsiteX13-105" fmla="*/ 1286443 w 3984859"/>
                  <a:gd name="connsiteY13-106" fmla="*/ 3427520 h 4890220"/>
                  <a:gd name="connsiteX14-107" fmla="*/ 615750 w 3984859"/>
                  <a:gd name="connsiteY14-108" fmla="*/ 3059888 h 4890220"/>
                  <a:gd name="connsiteX15-109" fmla="*/ 375385 w 3984859"/>
                  <a:gd name="connsiteY15-110" fmla="*/ 2006456 h 4890220"/>
                  <a:gd name="connsiteX16-111" fmla="*/ 221381 w 3984859"/>
                  <a:gd name="connsiteY16-112" fmla="*/ 1823576 h 4890220"/>
                  <a:gd name="connsiteX17-113" fmla="*/ 336884 w 3984859"/>
                  <a:gd name="connsiteY17-114" fmla="*/ 1197934 h 4890220"/>
                  <a:gd name="connsiteX18-115" fmla="*/ 0 w 3984859"/>
                  <a:gd name="connsiteY18-116" fmla="*/ 755172 h 4890220"/>
                  <a:gd name="connsiteX19-117" fmla="*/ 251725 w 3984859"/>
                  <a:gd name="connsiteY19-118" fmla="*/ 0 h 4890220"/>
                  <a:gd name="connsiteX0-119" fmla="*/ 251725 w 3984859"/>
                  <a:gd name="connsiteY0-120" fmla="*/ 0 h 4890220"/>
                  <a:gd name="connsiteX1-121" fmla="*/ 490889 w 3984859"/>
                  <a:gd name="connsiteY1-122" fmla="*/ 851425 h 4890220"/>
                  <a:gd name="connsiteX2-123" fmla="*/ 808522 w 3984859"/>
                  <a:gd name="connsiteY2-124" fmla="*/ 1159433 h 4890220"/>
                  <a:gd name="connsiteX3-125" fmla="*/ 1087655 w 3984859"/>
                  <a:gd name="connsiteY3-126" fmla="*/ 1765825 h 4890220"/>
                  <a:gd name="connsiteX4-127" fmla="*/ 1357162 w 3984859"/>
                  <a:gd name="connsiteY4-128" fmla="*/ 1611821 h 4890220"/>
                  <a:gd name="connsiteX5-129" fmla="*/ 1617044 w 3984859"/>
                  <a:gd name="connsiteY5-130" fmla="*/ 2401092 h 4890220"/>
                  <a:gd name="connsiteX6-131" fmla="*/ 2021305 w 3984859"/>
                  <a:gd name="connsiteY6-132" fmla="*/ 2766852 h 4890220"/>
                  <a:gd name="connsiteX7-133" fmla="*/ 2444817 w 3984859"/>
                  <a:gd name="connsiteY7-134" fmla="*/ 2632099 h 4890220"/>
                  <a:gd name="connsiteX8-135" fmla="*/ 2820202 w 3984859"/>
                  <a:gd name="connsiteY8-136" fmla="*/ 2872730 h 4890220"/>
                  <a:gd name="connsiteX9-137" fmla="*/ 3984859 w 3984859"/>
                  <a:gd name="connsiteY9-138" fmla="*/ 4884410 h 4890220"/>
                  <a:gd name="connsiteX10-139" fmla="*/ 2629207 w 3984859"/>
                  <a:gd name="connsiteY10-140" fmla="*/ 4890220 h 4890220"/>
                  <a:gd name="connsiteX11-141" fmla="*/ 2540951 w 3984859"/>
                  <a:gd name="connsiteY11-142" fmla="*/ 4686873 h 4890220"/>
                  <a:gd name="connsiteX12-143" fmla="*/ 1782679 w 3984859"/>
                  <a:gd name="connsiteY12-144" fmla="*/ 3610667 h 4890220"/>
                  <a:gd name="connsiteX13-145" fmla="*/ 1286443 w 3984859"/>
                  <a:gd name="connsiteY13-146" fmla="*/ 3427520 h 4890220"/>
                  <a:gd name="connsiteX14-147" fmla="*/ 615750 w 3984859"/>
                  <a:gd name="connsiteY14-148" fmla="*/ 3059888 h 4890220"/>
                  <a:gd name="connsiteX15-149" fmla="*/ 375385 w 3984859"/>
                  <a:gd name="connsiteY15-150" fmla="*/ 2006456 h 4890220"/>
                  <a:gd name="connsiteX16-151" fmla="*/ 221381 w 3984859"/>
                  <a:gd name="connsiteY16-152" fmla="*/ 1823576 h 4890220"/>
                  <a:gd name="connsiteX17-153" fmla="*/ 336884 w 3984859"/>
                  <a:gd name="connsiteY17-154" fmla="*/ 1197934 h 4890220"/>
                  <a:gd name="connsiteX18-155" fmla="*/ 0 w 3984859"/>
                  <a:gd name="connsiteY18-156" fmla="*/ 755172 h 4890220"/>
                  <a:gd name="connsiteX19-157" fmla="*/ 251725 w 3984859"/>
                  <a:gd name="connsiteY19-158" fmla="*/ 0 h 4890220"/>
                  <a:gd name="connsiteX0-159" fmla="*/ 251725 w 3984859"/>
                  <a:gd name="connsiteY0-160" fmla="*/ 0 h 4890220"/>
                  <a:gd name="connsiteX1-161" fmla="*/ 490889 w 3984859"/>
                  <a:gd name="connsiteY1-162" fmla="*/ 851425 h 4890220"/>
                  <a:gd name="connsiteX2-163" fmla="*/ 808522 w 3984859"/>
                  <a:gd name="connsiteY2-164" fmla="*/ 1159433 h 4890220"/>
                  <a:gd name="connsiteX3-165" fmla="*/ 1087655 w 3984859"/>
                  <a:gd name="connsiteY3-166" fmla="*/ 1765825 h 4890220"/>
                  <a:gd name="connsiteX4-167" fmla="*/ 1357162 w 3984859"/>
                  <a:gd name="connsiteY4-168" fmla="*/ 1611821 h 4890220"/>
                  <a:gd name="connsiteX5-169" fmla="*/ 1369127 w 3984859"/>
                  <a:gd name="connsiteY5-170" fmla="*/ 1818697 h 4890220"/>
                  <a:gd name="connsiteX6-171" fmla="*/ 1617044 w 3984859"/>
                  <a:gd name="connsiteY6-172" fmla="*/ 2401092 h 4890220"/>
                  <a:gd name="connsiteX7-173" fmla="*/ 2021305 w 3984859"/>
                  <a:gd name="connsiteY7-174" fmla="*/ 2766852 h 4890220"/>
                  <a:gd name="connsiteX8-175" fmla="*/ 2444817 w 3984859"/>
                  <a:gd name="connsiteY8-176" fmla="*/ 2632099 h 4890220"/>
                  <a:gd name="connsiteX9-177" fmla="*/ 2820202 w 3984859"/>
                  <a:gd name="connsiteY9-178" fmla="*/ 2872730 h 4890220"/>
                  <a:gd name="connsiteX10-179" fmla="*/ 3984859 w 3984859"/>
                  <a:gd name="connsiteY10-180" fmla="*/ 4884410 h 4890220"/>
                  <a:gd name="connsiteX11-181" fmla="*/ 2629207 w 3984859"/>
                  <a:gd name="connsiteY11-182" fmla="*/ 4890220 h 4890220"/>
                  <a:gd name="connsiteX12-183" fmla="*/ 2540951 w 3984859"/>
                  <a:gd name="connsiteY12-184" fmla="*/ 4686873 h 4890220"/>
                  <a:gd name="connsiteX13-185" fmla="*/ 1782679 w 3984859"/>
                  <a:gd name="connsiteY13-186" fmla="*/ 3610667 h 4890220"/>
                  <a:gd name="connsiteX14-187" fmla="*/ 1286443 w 3984859"/>
                  <a:gd name="connsiteY14-188" fmla="*/ 3427520 h 4890220"/>
                  <a:gd name="connsiteX15-189" fmla="*/ 615750 w 3984859"/>
                  <a:gd name="connsiteY15-190" fmla="*/ 3059888 h 4890220"/>
                  <a:gd name="connsiteX16-191" fmla="*/ 375385 w 3984859"/>
                  <a:gd name="connsiteY16-192" fmla="*/ 2006456 h 4890220"/>
                  <a:gd name="connsiteX17-193" fmla="*/ 221381 w 3984859"/>
                  <a:gd name="connsiteY17-194" fmla="*/ 1823576 h 4890220"/>
                  <a:gd name="connsiteX18-195" fmla="*/ 336884 w 3984859"/>
                  <a:gd name="connsiteY18-196" fmla="*/ 1197934 h 4890220"/>
                  <a:gd name="connsiteX19-197" fmla="*/ 0 w 3984859"/>
                  <a:gd name="connsiteY19-198" fmla="*/ 755172 h 4890220"/>
                  <a:gd name="connsiteX20" fmla="*/ 251725 w 3984859"/>
                  <a:gd name="connsiteY20" fmla="*/ 0 h 4890220"/>
                  <a:gd name="connsiteX0-199" fmla="*/ 251725 w 3984859"/>
                  <a:gd name="connsiteY0-200" fmla="*/ 0 h 4890220"/>
                  <a:gd name="connsiteX1-201" fmla="*/ 490889 w 3984859"/>
                  <a:gd name="connsiteY1-202" fmla="*/ 851425 h 4890220"/>
                  <a:gd name="connsiteX2-203" fmla="*/ 808522 w 3984859"/>
                  <a:gd name="connsiteY2-204" fmla="*/ 1159433 h 4890220"/>
                  <a:gd name="connsiteX3-205" fmla="*/ 1087655 w 3984859"/>
                  <a:gd name="connsiteY3-206" fmla="*/ 1765825 h 4890220"/>
                  <a:gd name="connsiteX4-207" fmla="*/ 1357162 w 3984859"/>
                  <a:gd name="connsiteY4-208" fmla="*/ 1611821 h 4890220"/>
                  <a:gd name="connsiteX5-209" fmla="*/ 1369127 w 3984859"/>
                  <a:gd name="connsiteY5-210" fmla="*/ 1818697 h 4890220"/>
                  <a:gd name="connsiteX6-211" fmla="*/ 1318327 w 3984859"/>
                  <a:gd name="connsiteY6-212" fmla="*/ 1949930 h 4890220"/>
                  <a:gd name="connsiteX7-213" fmla="*/ 1617044 w 3984859"/>
                  <a:gd name="connsiteY7-214" fmla="*/ 2401092 h 4890220"/>
                  <a:gd name="connsiteX8-215" fmla="*/ 2021305 w 3984859"/>
                  <a:gd name="connsiteY8-216" fmla="*/ 2766852 h 4890220"/>
                  <a:gd name="connsiteX9-217" fmla="*/ 2444817 w 3984859"/>
                  <a:gd name="connsiteY9-218" fmla="*/ 2632099 h 4890220"/>
                  <a:gd name="connsiteX10-219" fmla="*/ 2820202 w 3984859"/>
                  <a:gd name="connsiteY10-220" fmla="*/ 2872730 h 4890220"/>
                  <a:gd name="connsiteX11-221" fmla="*/ 3984859 w 3984859"/>
                  <a:gd name="connsiteY11-222" fmla="*/ 4884410 h 4890220"/>
                  <a:gd name="connsiteX12-223" fmla="*/ 2629207 w 3984859"/>
                  <a:gd name="connsiteY12-224" fmla="*/ 4890220 h 4890220"/>
                  <a:gd name="connsiteX13-225" fmla="*/ 2540951 w 3984859"/>
                  <a:gd name="connsiteY13-226" fmla="*/ 4686873 h 4890220"/>
                  <a:gd name="connsiteX14-227" fmla="*/ 1782679 w 3984859"/>
                  <a:gd name="connsiteY14-228" fmla="*/ 3610667 h 4890220"/>
                  <a:gd name="connsiteX15-229" fmla="*/ 1286443 w 3984859"/>
                  <a:gd name="connsiteY15-230" fmla="*/ 3427520 h 4890220"/>
                  <a:gd name="connsiteX16-231" fmla="*/ 615750 w 3984859"/>
                  <a:gd name="connsiteY16-232" fmla="*/ 3059888 h 4890220"/>
                  <a:gd name="connsiteX17-233" fmla="*/ 375385 w 3984859"/>
                  <a:gd name="connsiteY17-234" fmla="*/ 2006456 h 4890220"/>
                  <a:gd name="connsiteX18-235" fmla="*/ 221381 w 3984859"/>
                  <a:gd name="connsiteY18-236" fmla="*/ 1823576 h 4890220"/>
                  <a:gd name="connsiteX19-237" fmla="*/ 336884 w 3984859"/>
                  <a:gd name="connsiteY19-238" fmla="*/ 1197934 h 4890220"/>
                  <a:gd name="connsiteX20-239" fmla="*/ 0 w 3984859"/>
                  <a:gd name="connsiteY20-240" fmla="*/ 755172 h 4890220"/>
                  <a:gd name="connsiteX21" fmla="*/ 251725 w 3984859"/>
                  <a:gd name="connsiteY21" fmla="*/ 0 h 4890220"/>
                  <a:gd name="connsiteX0-241" fmla="*/ 251725 w 3984859"/>
                  <a:gd name="connsiteY0-242" fmla="*/ 0 h 4890220"/>
                  <a:gd name="connsiteX1-243" fmla="*/ 490889 w 3984859"/>
                  <a:gd name="connsiteY1-244" fmla="*/ 851425 h 4890220"/>
                  <a:gd name="connsiteX2-245" fmla="*/ 808522 w 3984859"/>
                  <a:gd name="connsiteY2-246" fmla="*/ 1159433 h 4890220"/>
                  <a:gd name="connsiteX3-247" fmla="*/ 1087655 w 3984859"/>
                  <a:gd name="connsiteY3-248" fmla="*/ 1765825 h 4890220"/>
                  <a:gd name="connsiteX4-249" fmla="*/ 1357162 w 3984859"/>
                  <a:gd name="connsiteY4-250" fmla="*/ 1611821 h 4890220"/>
                  <a:gd name="connsiteX5-251" fmla="*/ 1369127 w 3984859"/>
                  <a:gd name="connsiteY5-252" fmla="*/ 1818697 h 4890220"/>
                  <a:gd name="connsiteX6-253" fmla="*/ 1318327 w 3984859"/>
                  <a:gd name="connsiteY6-254" fmla="*/ 1949930 h 4890220"/>
                  <a:gd name="connsiteX7-255" fmla="*/ 1617044 w 3984859"/>
                  <a:gd name="connsiteY7-256" fmla="*/ 2401092 h 4890220"/>
                  <a:gd name="connsiteX8-257" fmla="*/ 2021305 w 3984859"/>
                  <a:gd name="connsiteY8-258" fmla="*/ 2766852 h 4890220"/>
                  <a:gd name="connsiteX9-259" fmla="*/ 2444817 w 3984859"/>
                  <a:gd name="connsiteY9-260" fmla="*/ 2632099 h 4890220"/>
                  <a:gd name="connsiteX10-261" fmla="*/ 2820202 w 3984859"/>
                  <a:gd name="connsiteY10-262" fmla="*/ 2872730 h 4890220"/>
                  <a:gd name="connsiteX11-263" fmla="*/ 3984859 w 3984859"/>
                  <a:gd name="connsiteY11-264" fmla="*/ 4884410 h 4890220"/>
                  <a:gd name="connsiteX12-265" fmla="*/ 2629207 w 3984859"/>
                  <a:gd name="connsiteY12-266" fmla="*/ 4890220 h 4890220"/>
                  <a:gd name="connsiteX13-267" fmla="*/ 2540951 w 3984859"/>
                  <a:gd name="connsiteY13-268" fmla="*/ 4686873 h 4890220"/>
                  <a:gd name="connsiteX14-269" fmla="*/ 1782679 w 3984859"/>
                  <a:gd name="connsiteY14-270" fmla="*/ 3610667 h 4890220"/>
                  <a:gd name="connsiteX15-271" fmla="*/ 1286443 w 3984859"/>
                  <a:gd name="connsiteY15-272" fmla="*/ 3427520 h 4890220"/>
                  <a:gd name="connsiteX16-273" fmla="*/ 615750 w 3984859"/>
                  <a:gd name="connsiteY16-274" fmla="*/ 3059888 h 4890220"/>
                  <a:gd name="connsiteX17-275" fmla="*/ 375385 w 3984859"/>
                  <a:gd name="connsiteY17-276" fmla="*/ 2006456 h 4890220"/>
                  <a:gd name="connsiteX18-277" fmla="*/ 221381 w 3984859"/>
                  <a:gd name="connsiteY18-278" fmla="*/ 1823576 h 4890220"/>
                  <a:gd name="connsiteX19-279" fmla="*/ 336884 w 3984859"/>
                  <a:gd name="connsiteY19-280" fmla="*/ 1197934 h 4890220"/>
                  <a:gd name="connsiteX20-281" fmla="*/ 0 w 3984859"/>
                  <a:gd name="connsiteY20-282" fmla="*/ 755172 h 4890220"/>
                  <a:gd name="connsiteX21-283" fmla="*/ 251725 w 3984859"/>
                  <a:gd name="connsiteY21-284" fmla="*/ 0 h 4890220"/>
                  <a:gd name="connsiteX0-285" fmla="*/ 251725 w 3984859"/>
                  <a:gd name="connsiteY0-286" fmla="*/ 0 h 4890220"/>
                  <a:gd name="connsiteX1-287" fmla="*/ 490889 w 3984859"/>
                  <a:gd name="connsiteY1-288" fmla="*/ 851425 h 4890220"/>
                  <a:gd name="connsiteX2-289" fmla="*/ 808522 w 3984859"/>
                  <a:gd name="connsiteY2-290" fmla="*/ 1159433 h 4890220"/>
                  <a:gd name="connsiteX3-291" fmla="*/ 1087655 w 3984859"/>
                  <a:gd name="connsiteY3-292" fmla="*/ 1765825 h 4890220"/>
                  <a:gd name="connsiteX4-293" fmla="*/ 1357162 w 3984859"/>
                  <a:gd name="connsiteY4-294" fmla="*/ 1611821 h 4890220"/>
                  <a:gd name="connsiteX5-295" fmla="*/ 1369127 w 3984859"/>
                  <a:gd name="connsiteY5-296" fmla="*/ 1818697 h 4890220"/>
                  <a:gd name="connsiteX6-297" fmla="*/ 1318327 w 3984859"/>
                  <a:gd name="connsiteY6-298" fmla="*/ 1949930 h 4890220"/>
                  <a:gd name="connsiteX7-299" fmla="*/ 1617044 w 3984859"/>
                  <a:gd name="connsiteY7-300" fmla="*/ 2401092 h 4890220"/>
                  <a:gd name="connsiteX8-301" fmla="*/ 2021305 w 3984859"/>
                  <a:gd name="connsiteY8-302" fmla="*/ 2766852 h 4890220"/>
                  <a:gd name="connsiteX9-303" fmla="*/ 2444817 w 3984859"/>
                  <a:gd name="connsiteY9-304" fmla="*/ 2632099 h 4890220"/>
                  <a:gd name="connsiteX10-305" fmla="*/ 2820202 w 3984859"/>
                  <a:gd name="connsiteY10-306" fmla="*/ 2872730 h 4890220"/>
                  <a:gd name="connsiteX11-307" fmla="*/ 3984859 w 3984859"/>
                  <a:gd name="connsiteY11-308" fmla="*/ 4884410 h 4890220"/>
                  <a:gd name="connsiteX12-309" fmla="*/ 2629207 w 3984859"/>
                  <a:gd name="connsiteY12-310" fmla="*/ 4890220 h 4890220"/>
                  <a:gd name="connsiteX13-311" fmla="*/ 2540951 w 3984859"/>
                  <a:gd name="connsiteY13-312" fmla="*/ 4686873 h 4890220"/>
                  <a:gd name="connsiteX14-313" fmla="*/ 1782679 w 3984859"/>
                  <a:gd name="connsiteY14-314" fmla="*/ 3610667 h 4890220"/>
                  <a:gd name="connsiteX15-315" fmla="*/ 1286443 w 3984859"/>
                  <a:gd name="connsiteY15-316" fmla="*/ 3427520 h 4890220"/>
                  <a:gd name="connsiteX16-317" fmla="*/ 615750 w 3984859"/>
                  <a:gd name="connsiteY16-318" fmla="*/ 3059888 h 4890220"/>
                  <a:gd name="connsiteX17-319" fmla="*/ 375385 w 3984859"/>
                  <a:gd name="connsiteY17-320" fmla="*/ 2006456 h 4890220"/>
                  <a:gd name="connsiteX18-321" fmla="*/ 221381 w 3984859"/>
                  <a:gd name="connsiteY18-322" fmla="*/ 1823576 h 4890220"/>
                  <a:gd name="connsiteX19-323" fmla="*/ 336884 w 3984859"/>
                  <a:gd name="connsiteY19-324" fmla="*/ 1197934 h 4890220"/>
                  <a:gd name="connsiteX20-325" fmla="*/ 0 w 3984859"/>
                  <a:gd name="connsiteY20-326" fmla="*/ 755172 h 4890220"/>
                  <a:gd name="connsiteX21-327" fmla="*/ 251725 w 3984859"/>
                  <a:gd name="connsiteY21-328" fmla="*/ 0 h 4890220"/>
                  <a:gd name="connsiteX0-329" fmla="*/ 251725 w 3984859"/>
                  <a:gd name="connsiteY0-330" fmla="*/ 0 h 4890220"/>
                  <a:gd name="connsiteX1-331" fmla="*/ 490889 w 3984859"/>
                  <a:gd name="connsiteY1-332" fmla="*/ 851425 h 4890220"/>
                  <a:gd name="connsiteX2-333" fmla="*/ 808522 w 3984859"/>
                  <a:gd name="connsiteY2-334" fmla="*/ 1159433 h 4890220"/>
                  <a:gd name="connsiteX3-335" fmla="*/ 1087655 w 3984859"/>
                  <a:gd name="connsiteY3-336" fmla="*/ 1765825 h 4890220"/>
                  <a:gd name="connsiteX4-337" fmla="*/ 1357162 w 3984859"/>
                  <a:gd name="connsiteY4-338" fmla="*/ 1611821 h 4890220"/>
                  <a:gd name="connsiteX5-339" fmla="*/ 1369127 w 3984859"/>
                  <a:gd name="connsiteY5-340" fmla="*/ 1818697 h 4890220"/>
                  <a:gd name="connsiteX6-341" fmla="*/ 1318327 w 3984859"/>
                  <a:gd name="connsiteY6-342" fmla="*/ 1949930 h 4890220"/>
                  <a:gd name="connsiteX7-343" fmla="*/ 1617044 w 3984859"/>
                  <a:gd name="connsiteY7-344" fmla="*/ 2401092 h 4890220"/>
                  <a:gd name="connsiteX8-345" fmla="*/ 2021305 w 3984859"/>
                  <a:gd name="connsiteY8-346" fmla="*/ 2766852 h 4890220"/>
                  <a:gd name="connsiteX9-347" fmla="*/ 2444817 w 3984859"/>
                  <a:gd name="connsiteY9-348" fmla="*/ 2632099 h 4890220"/>
                  <a:gd name="connsiteX10-349" fmla="*/ 2820202 w 3984859"/>
                  <a:gd name="connsiteY10-350" fmla="*/ 2872730 h 4890220"/>
                  <a:gd name="connsiteX11-351" fmla="*/ 3984859 w 3984859"/>
                  <a:gd name="connsiteY11-352" fmla="*/ 4884410 h 4890220"/>
                  <a:gd name="connsiteX12-353" fmla="*/ 2629207 w 3984859"/>
                  <a:gd name="connsiteY12-354" fmla="*/ 4890220 h 4890220"/>
                  <a:gd name="connsiteX13-355" fmla="*/ 2540951 w 3984859"/>
                  <a:gd name="connsiteY13-356" fmla="*/ 4686873 h 4890220"/>
                  <a:gd name="connsiteX14-357" fmla="*/ 1782679 w 3984859"/>
                  <a:gd name="connsiteY14-358" fmla="*/ 3610667 h 4890220"/>
                  <a:gd name="connsiteX15-359" fmla="*/ 1337243 w 3984859"/>
                  <a:gd name="connsiteY15-360" fmla="*/ 3532295 h 4890220"/>
                  <a:gd name="connsiteX16-361" fmla="*/ 615750 w 3984859"/>
                  <a:gd name="connsiteY16-362" fmla="*/ 3059888 h 4890220"/>
                  <a:gd name="connsiteX17-363" fmla="*/ 375385 w 3984859"/>
                  <a:gd name="connsiteY17-364" fmla="*/ 2006456 h 4890220"/>
                  <a:gd name="connsiteX18-365" fmla="*/ 221381 w 3984859"/>
                  <a:gd name="connsiteY18-366" fmla="*/ 1823576 h 4890220"/>
                  <a:gd name="connsiteX19-367" fmla="*/ 336884 w 3984859"/>
                  <a:gd name="connsiteY19-368" fmla="*/ 1197934 h 4890220"/>
                  <a:gd name="connsiteX20-369" fmla="*/ 0 w 3984859"/>
                  <a:gd name="connsiteY20-370" fmla="*/ 755172 h 4890220"/>
                  <a:gd name="connsiteX21-371" fmla="*/ 251725 w 3984859"/>
                  <a:gd name="connsiteY21-372" fmla="*/ 0 h 4890220"/>
                  <a:gd name="connsiteX0-373" fmla="*/ 251725 w 3984859"/>
                  <a:gd name="connsiteY0-374" fmla="*/ 0 h 4890220"/>
                  <a:gd name="connsiteX1-375" fmla="*/ 490889 w 3984859"/>
                  <a:gd name="connsiteY1-376" fmla="*/ 851425 h 4890220"/>
                  <a:gd name="connsiteX2-377" fmla="*/ 808522 w 3984859"/>
                  <a:gd name="connsiteY2-378" fmla="*/ 1159433 h 4890220"/>
                  <a:gd name="connsiteX3-379" fmla="*/ 1087655 w 3984859"/>
                  <a:gd name="connsiteY3-380" fmla="*/ 1765825 h 4890220"/>
                  <a:gd name="connsiteX4-381" fmla="*/ 1357162 w 3984859"/>
                  <a:gd name="connsiteY4-382" fmla="*/ 1611821 h 4890220"/>
                  <a:gd name="connsiteX5-383" fmla="*/ 1369127 w 3984859"/>
                  <a:gd name="connsiteY5-384" fmla="*/ 1818697 h 4890220"/>
                  <a:gd name="connsiteX6-385" fmla="*/ 1318327 w 3984859"/>
                  <a:gd name="connsiteY6-386" fmla="*/ 1949930 h 4890220"/>
                  <a:gd name="connsiteX7-387" fmla="*/ 1617044 w 3984859"/>
                  <a:gd name="connsiteY7-388" fmla="*/ 2401092 h 4890220"/>
                  <a:gd name="connsiteX8-389" fmla="*/ 2021305 w 3984859"/>
                  <a:gd name="connsiteY8-390" fmla="*/ 2766852 h 4890220"/>
                  <a:gd name="connsiteX9-391" fmla="*/ 2444817 w 3984859"/>
                  <a:gd name="connsiteY9-392" fmla="*/ 2632099 h 4890220"/>
                  <a:gd name="connsiteX10-393" fmla="*/ 2820202 w 3984859"/>
                  <a:gd name="connsiteY10-394" fmla="*/ 2872730 h 4890220"/>
                  <a:gd name="connsiteX11-395" fmla="*/ 3984859 w 3984859"/>
                  <a:gd name="connsiteY11-396" fmla="*/ 4884410 h 4890220"/>
                  <a:gd name="connsiteX12-397" fmla="*/ 2629207 w 3984859"/>
                  <a:gd name="connsiteY12-398" fmla="*/ 4890220 h 4890220"/>
                  <a:gd name="connsiteX13-399" fmla="*/ 2540951 w 3984859"/>
                  <a:gd name="connsiteY13-400" fmla="*/ 4686873 h 4890220"/>
                  <a:gd name="connsiteX14-401" fmla="*/ 1782679 w 3984859"/>
                  <a:gd name="connsiteY14-402" fmla="*/ 3610667 h 4890220"/>
                  <a:gd name="connsiteX15-403" fmla="*/ 1692977 w 3984859"/>
                  <a:gd name="connsiteY15-404" fmla="*/ 3561772 h 4890220"/>
                  <a:gd name="connsiteX16-405" fmla="*/ 1337243 w 3984859"/>
                  <a:gd name="connsiteY16-406" fmla="*/ 3532295 h 4890220"/>
                  <a:gd name="connsiteX17-407" fmla="*/ 615750 w 3984859"/>
                  <a:gd name="connsiteY17-408" fmla="*/ 3059888 h 4890220"/>
                  <a:gd name="connsiteX18-409" fmla="*/ 375385 w 3984859"/>
                  <a:gd name="connsiteY18-410" fmla="*/ 2006456 h 4890220"/>
                  <a:gd name="connsiteX19-411" fmla="*/ 221381 w 3984859"/>
                  <a:gd name="connsiteY19-412" fmla="*/ 1823576 h 4890220"/>
                  <a:gd name="connsiteX20-413" fmla="*/ 336884 w 3984859"/>
                  <a:gd name="connsiteY20-414" fmla="*/ 1197934 h 4890220"/>
                  <a:gd name="connsiteX21-415" fmla="*/ 0 w 3984859"/>
                  <a:gd name="connsiteY21-416" fmla="*/ 755172 h 4890220"/>
                  <a:gd name="connsiteX22" fmla="*/ 251725 w 3984859"/>
                  <a:gd name="connsiteY22" fmla="*/ 0 h 4890220"/>
                  <a:gd name="connsiteX0-417" fmla="*/ 251725 w 3984859"/>
                  <a:gd name="connsiteY0-418" fmla="*/ 0 h 4890220"/>
                  <a:gd name="connsiteX1-419" fmla="*/ 490889 w 3984859"/>
                  <a:gd name="connsiteY1-420" fmla="*/ 851425 h 4890220"/>
                  <a:gd name="connsiteX2-421" fmla="*/ 808522 w 3984859"/>
                  <a:gd name="connsiteY2-422" fmla="*/ 1159433 h 4890220"/>
                  <a:gd name="connsiteX3-423" fmla="*/ 1087655 w 3984859"/>
                  <a:gd name="connsiteY3-424" fmla="*/ 1765825 h 4890220"/>
                  <a:gd name="connsiteX4-425" fmla="*/ 1357162 w 3984859"/>
                  <a:gd name="connsiteY4-426" fmla="*/ 1611821 h 4890220"/>
                  <a:gd name="connsiteX5-427" fmla="*/ 1369127 w 3984859"/>
                  <a:gd name="connsiteY5-428" fmla="*/ 1818697 h 4890220"/>
                  <a:gd name="connsiteX6-429" fmla="*/ 1318327 w 3984859"/>
                  <a:gd name="connsiteY6-430" fmla="*/ 1949930 h 4890220"/>
                  <a:gd name="connsiteX7-431" fmla="*/ 1617044 w 3984859"/>
                  <a:gd name="connsiteY7-432" fmla="*/ 2401092 h 4890220"/>
                  <a:gd name="connsiteX8-433" fmla="*/ 2021305 w 3984859"/>
                  <a:gd name="connsiteY8-434" fmla="*/ 2766852 h 4890220"/>
                  <a:gd name="connsiteX9-435" fmla="*/ 2444817 w 3984859"/>
                  <a:gd name="connsiteY9-436" fmla="*/ 2632099 h 4890220"/>
                  <a:gd name="connsiteX10-437" fmla="*/ 2820202 w 3984859"/>
                  <a:gd name="connsiteY10-438" fmla="*/ 2872730 h 4890220"/>
                  <a:gd name="connsiteX11-439" fmla="*/ 3984859 w 3984859"/>
                  <a:gd name="connsiteY11-440" fmla="*/ 4884410 h 4890220"/>
                  <a:gd name="connsiteX12-441" fmla="*/ 2629207 w 3984859"/>
                  <a:gd name="connsiteY12-442" fmla="*/ 4890220 h 4890220"/>
                  <a:gd name="connsiteX13-443" fmla="*/ 2540951 w 3984859"/>
                  <a:gd name="connsiteY13-444" fmla="*/ 4686873 h 4890220"/>
                  <a:gd name="connsiteX14-445" fmla="*/ 1827129 w 3984859"/>
                  <a:gd name="connsiteY14-446" fmla="*/ 3632892 h 4890220"/>
                  <a:gd name="connsiteX15-447" fmla="*/ 1692977 w 3984859"/>
                  <a:gd name="connsiteY15-448" fmla="*/ 3561772 h 4890220"/>
                  <a:gd name="connsiteX16-449" fmla="*/ 1337243 w 3984859"/>
                  <a:gd name="connsiteY16-450" fmla="*/ 3532295 h 4890220"/>
                  <a:gd name="connsiteX17-451" fmla="*/ 615750 w 3984859"/>
                  <a:gd name="connsiteY17-452" fmla="*/ 3059888 h 4890220"/>
                  <a:gd name="connsiteX18-453" fmla="*/ 375385 w 3984859"/>
                  <a:gd name="connsiteY18-454" fmla="*/ 2006456 h 4890220"/>
                  <a:gd name="connsiteX19-455" fmla="*/ 221381 w 3984859"/>
                  <a:gd name="connsiteY19-456" fmla="*/ 1823576 h 4890220"/>
                  <a:gd name="connsiteX20-457" fmla="*/ 336884 w 3984859"/>
                  <a:gd name="connsiteY20-458" fmla="*/ 1197934 h 4890220"/>
                  <a:gd name="connsiteX21-459" fmla="*/ 0 w 3984859"/>
                  <a:gd name="connsiteY21-460" fmla="*/ 755172 h 4890220"/>
                  <a:gd name="connsiteX22-461" fmla="*/ 251725 w 3984859"/>
                  <a:gd name="connsiteY22-462" fmla="*/ 0 h 4890220"/>
                  <a:gd name="connsiteX0-463" fmla="*/ 251725 w 3984859"/>
                  <a:gd name="connsiteY0-464" fmla="*/ 0 h 4890220"/>
                  <a:gd name="connsiteX1-465" fmla="*/ 490889 w 3984859"/>
                  <a:gd name="connsiteY1-466" fmla="*/ 851425 h 4890220"/>
                  <a:gd name="connsiteX2-467" fmla="*/ 808522 w 3984859"/>
                  <a:gd name="connsiteY2-468" fmla="*/ 1159433 h 4890220"/>
                  <a:gd name="connsiteX3-469" fmla="*/ 1087655 w 3984859"/>
                  <a:gd name="connsiteY3-470" fmla="*/ 1765825 h 4890220"/>
                  <a:gd name="connsiteX4-471" fmla="*/ 1357162 w 3984859"/>
                  <a:gd name="connsiteY4-472" fmla="*/ 1611821 h 4890220"/>
                  <a:gd name="connsiteX5-473" fmla="*/ 1369127 w 3984859"/>
                  <a:gd name="connsiteY5-474" fmla="*/ 1818697 h 4890220"/>
                  <a:gd name="connsiteX6-475" fmla="*/ 1318327 w 3984859"/>
                  <a:gd name="connsiteY6-476" fmla="*/ 1949930 h 4890220"/>
                  <a:gd name="connsiteX7-477" fmla="*/ 1617044 w 3984859"/>
                  <a:gd name="connsiteY7-478" fmla="*/ 2401092 h 4890220"/>
                  <a:gd name="connsiteX8-479" fmla="*/ 2021305 w 3984859"/>
                  <a:gd name="connsiteY8-480" fmla="*/ 2766852 h 4890220"/>
                  <a:gd name="connsiteX9-481" fmla="*/ 2444817 w 3984859"/>
                  <a:gd name="connsiteY9-482" fmla="*/ 2632099 h 4890220"/>
                  <a:gd name="connsiteX10-483" fmla="*/ 2820202 w 3984859"/>
                  <a:gd name="connsiteY10-484" fmla="*/ 2872730 h 4890220"/>
                  <a:gd name="connsiteX11-485" fmla="*/ 3984859 w 3984859"/>
                  <a:gd name="connsiteY11-486" fmla="*/ 4884410 h 4890220"/>
                  <a:gd name="connsiteX12-487" fmla="*/ 2629207 w 3984859"/>
                  <a:gd name="connsiteY12-488" fmla="*/ 4890220 h 4890220"/>
                  <a:gd name="connsiteX13-489" fmla="*/ 2540951 w 3984859"/>
                  <a:gd name="connsiteY13-490" fmla="*/ 4686873 h 4890220"/>
                  <a:gd name="connsiteX14-491" fmla="*/ 1827129 w 3984859"/>
                  <a:gd name="connsiteY14-492" fmla="*/ 3632892 h 4890220"/>
                  <a:gd name="connsiteX15-493" fmla="*/ 1712027 w 3984859"/>
                  <a:gd name="connsiteY15-494" fmla="*/ 3564947 h 4890220"/>
                  <a:gd name="connsiteX16-495" fmla="*/ 1337243 w 3984859"/>
                  <a:gd name="connsiteY16-496" fmla="*/ 3532295 h 4890220"/>
                  <a:gd name="connsiteX17-497" fmla="*/ 615750 w 3984859"/>
                  <a:gd name="connsiteY17-498" fmla="*/ 3059888 h 4890220"/>
                  <a:gd name="connsiteX18-499" fmla="*/ 375385 w 3984859"/>
                  <a:gd name="connsiteY18-500" fmla="*/ 2006456 h 4890220"/>
                  <a:gd name="connsiteX19-501" fmla="*/ 221381 w 3984859"/>
                  <a:gd name="connsiteY19-502" fmla="*/ 1823576 h 4890220"/>
                  <a:gd name="connsiteX20-503" fmla="*/ 336884 w 3984859"/>
                  <a:gd name="connsiteY20-504" fmla="*/ 1197934 h 4890220"/>
                  <a:gd name="connsiteX21-505" fmla="*/ 0 w 3984859"/>
                  <a:gd name="connsiteY21-506" fmla="*/ 755172 h 4890220"/>
                  <a:gd name="connsiteX22-507" fmla="*/ 251725 w 3984859"/>
                  <a:gd name="connsiteY22-508" fmla="*/ 0 h 4890220"/>
                  <a:gd name="connsiteX0-509" fmla="*/ 251725 w 3984859"/>
                  <a:gd name="connsiteY0-510" fmla="*/ 0 h 4890220"/>
                  <a:gd name="connsiteX1-511" fmla="*/ 490889 w 3984859"/>
                  <a:gd name="connsiteY1-512" fmla="*/ 851425 h 4890220"/>
                  <a:gd name="connsiteX2-513" fmla="*/ 808522 w 3984859"/>
                  <a:gd name="connsiteY2-514" fmla="*/ 1159433 h 4890220"/>
                  <a:gd name="connsiteX3-515" fmla="*/ 1087655 w 3984859"/>
                  <a:gd name="connsiteY3-516" fmla="*/ 1765825 h 4890220"/>
                  <a:gd name="connsiteX4-517" fmla="*/ 1357162 w 3984859"/>
                  <a:gd name="connsiteY4-518" fmla="*/ 1611821 h 4890220"/>
                  <a:gd name="connsiteX5-519" fmla="*/ 1369127 w 3984859"/>
                  <a:gd name="connsiteY5-520" fmla="*/ 1818697 h 4890220"/>
                  <a:gd name="connsiteX6-521" fmla="*/ 1318327 w 3984859"/>
                  <a:gd name="connsiteY6-522" fmla="*/ 1949930 h 4890220"/>
                  <a:gd name="connsiteX7-523" fmla="*/ 1617044 w 3984859"/>
                  <a:gd name="connsiteY7-524" fmla="*/ 2401092 h 4890220"/>
                  <a:gd name="connsiteX8-525" fmla="*/ 2021305 w 3984859"/>
                  <a:gd name="connsiteY8-526" fmla="*/ 2766852 h 4890220"/>
                  <a:gd name="connsiteX9-527" fmla="*/ 2444817 w 3984859"/>
                  <a:gd name="connsiteY9-528" fmla="*/ 2632099 h 4890220"/>
                  <a:gd name="connsiteX10-529" fmla="*/ 2785227 w 3984859"/>
                  <a:gd name="connsiteY10-530" fmla="*/ 3495299 h 4890220"/>
                  <a:gd name="connsiteX11-531" fmla="*/ 3984859 w 3984859"/>
                  <a:gd name="connsiteY11-532" fmla="*/ 4884410 h 4890220"/>
                  <a:gd name="connsiteX12-533" fmla="*/ 2629207 w 3984859"/>
                  <a:gd name="connsiteY12-534" fmla="*/ 4890220 h 4890220"/>
                  <a:gd name="connsiteX13-535" fmla="*/ 2540951 w 3984859"/>
                  <a:gd name="connsiteY13-536" fmla="*/ 4686873 h 4890220"/>
                  <a:gd name="connsiteX14-537" fmla="*/ 1827129 w 3984859"/>
                  <a:gd name="connsiteY14-538" fmla="*/ 3632892 h 4890220"/>
                  <a:gd name="connsiteX15-539" fmla="*/ 1712027 w 3984859"/>
                  <a:gd name="connsiteY15-540" fmla="*/ 3564947 h 4890220"/>
                  <a:gd name="connsiteX16-541" fmla="*/ 1337243 w 3984859"/>
                  <a:gd name="connsiteY16-542" fmla="*/ 3532295 h 4890220"/>
                  <a:gd name="connsiteX17-543" fmla="*/ 615750 w 3984859"/>
                  <a:gd name="connsiteY17-544" fmla="*/ 3059888 h 4890220"/>
                  <a:gd name="connsiteX18-545" fmla="*/ 375385 w 3984859"/>
                  <a:gd name="connsiteY18-546" fmla="*/ 2006456 h 4890220"/>
                  <a:gd name="connsiteX19-547" fmla="*/ 221381 w 3984859"/>
                  <a:gd name="connsiteY19-548" fmla="*/ 1823576 h 4890220"/>
                  <a:gd name="connsiteX20-549" fmla="*/ 336884 w 3984859"/>
                  <a:gd name="connsiteY20-550" fmla="*/ 1197934 h 4890220"/>
                  <a:gd name="connsiteX21-551" fmla="*/ 0 w 3984859"/>
                  <a:gd name="connsiteY21-552" fmla="*/ 755172 h 4890220"/>
                  <a:gd name="connsiteX22-553" fmla="*/ 251725 w 3984859"/>
                  <a:gd name="connsiteY22-554" fmla="*/ 0 h 4890220"/>
                  <a:gd name="connsiteX0-555" fmla="*/ 251725 w 3984859"/>
                  <a:gd name="connsiteY0-556" fmla="*/ 0 h 4890220"/>
                  <a:gd name="connsiteX1-557" fmla="*/ 490889 w 3984859"/>
                  <a:gd name="connsiteY1-558" fmla="*/ 851425 h 4890220"/>
                  <a:gd name="connsiteX2-559" fmla="*/ 808522 w 3984859"/>
                  <a:gd name="connsiteY2-560" fmla="*/ 1159433 h 4890220"/>
                  <a:gd name="connsiteX3-561" fmla="*/ 1087655 w 3984859"/>
                  <a:gd name="connsiteY3-562" fmla="*/ 1765825 h 4890220"/>
                  <a:gd name="connsiteX4-563" fmla="*/ 1357162 w 3984859"/>
                  <a:gd name="connsiteY4-564" fmla="*/ 1611821 h 4890220"/>
                  <a:gd name="connsiteX5-565" fmla="*/ 1369127 w 3984859"/>
                  <a:gd name="connsiteY5-566" fmla="*/ 1818697 h 4890220"/>
                  <a:gd name="connsiteX6-567" fmla="*/ 1318327 w 3984859"/>
                  <a:gd name="connsiteY6-568" fmla="*/ 1949930 h 4890220"/>
                  <a:gd name="connsiteX7-569" fmla="*/ 1617044 w 3984859"/>
                  <a:gd name="connsiteY7-570" fmla="*/ 2401092 h 4890220"/>
                  <a:gd name="connsiteX8-571" fmla="*/ 2021305 w 3984859"/>
                  <a:gd name="connsiteY8-572" fmla="*/ 2766852 h 4890220"/>
                  <a:gd name="connsiteX9-573" fmla="*/ 2444817 w 3984859"/>
                  <a:gd name="connsiteY9-574" fmla="*/ 2632099 h 4890220"/>
                  <a:gd name="connsiteX10-575" fmla="*/ 2785227 w 3984859"/>
                  <a:gd name="connsiteY10-576" fmla="*/ 3495299 h 4890220"/>
                  <a:gd name="connsiteX11-577" fmla="*/ 3102386 w 3984859"/>
                  <a:gd name="connsiteY11-578" fmla="*/ 3630815 h 4890220"/>
                  <a:gd name="connsiteX12-579" fmla="*/ 3984859 w 3984859"/>
                  <a:gd name="connsiteY12-580" fmla="*/ 4884410 h 4890220"/>
                  <a:gd name="connsiteX13-581" fmla="*/ 2629207 w 3984859"/>
                  <a:gd name="connsiteY13-582" fmla="*/ 4890220 h 4890220"/>
                  <a:gd name="connsiteX14-583" fmla="*/ 2540951 w 3984859"/>
                  <a:gd name="connsiteY14-584" fmla="*/ 4686873 h 4890220"/>
                  <a:gd name="connsiteX15-585" fmla="*/ 1827129 w 3984859"/>
                  <a:gd name="connsiteY15-586" fmla="*/ 3632892 h 4890220"/>
                  <a:gd name="connsiteX16-587" fmla="*/ 1712027 w 3984859"/>
                  <a:gd name="connsiteY16-588" fmla="*/ 3564947 h 4890220"/>
                  <a:gd name="connsiteX17-589" fmla="*/ 1337243 w 3984859"/>
                  <a:gd name="connsiteY17-590" fmla="*/ 3532295 h 4890220"/>
                  <a:gd name="connsiteX18-591" fmla="*/ 615750 w 3984859"/>
                  <a:gd name="connsiteY18-592" fmla="*/ 3059888 h 4890220"/>
                  <a:gd name="connsiteX19-593" fmla="*/ 375385 w 3984859"/>
                  <a:gd name="connsiteY19-594" fmla="*/ 2006456 h 4890220"/>
                  <a:gd name="connsiteX20-595" fmla="*/ 221381 w 3984859"/>
                  <a:gd name="connsiteY20-596" fmla="*/ 1823576 h 4890220"/>
                  <a:gd name="connsiteX21-597" fmla="*/ 336884 w 3984859"/>
                  <a:gd name="connsiteY21-598" fmla="*/ 1197934 h 4890220"/>
                  <a:gd name="connsiteX22-599" fmla="*/ 0 w 3984859"/>
                  <a:gd name="connsiteY22-600" fmla="*/ 755172 h 4890220"/>
                  <a:gd name="connsiteX23" fmla="*/ 251725 w 3984859"/>
                  <a:gd name="connsiteY23" fmla="*/ 0 h 4890220"/>
                  <a:gd name="connsiteX0-601" fmla="*/ 251725 w 3984859"/>
                  <a:gd name="connsiteY0-602" fmla="*/ 0 h 4890220"/>
                  <a:gd name="connsiteX1-603" fmla="*/ 490889 w 3984859"/>
                  <a:gd name="connsiteY1-604" fmla="*/ 851425 h 4890220"/>
                  <a:gd name="connsiteX2-605" fmla="*/ 808522 w 3984859"/>
                  <a:gd name="connsiteY2-606" fmla="*/ 1159433 h 4890220"/>
                  <a:gd name="connsiteX3-607" fmla="*/ 1087655 w 3984859"/>
                  <a:gd name="connsiteY3-608" fmla="*/ 1765825 h 4890220"/>
                  <a:gd name="connsiteX4-609" fmla="*/ 1357162 w 3984859"/>
                  <a:gd name="connsiteY4-610" fmla="*/ 1611821 h 4890220"/>
                  <a:gd name="connsiteX5-611" fmla="*/ 1369127 w 3984859"/>
                  <a:gd name="connsiteY5-612" fmla="*/ 1818697 h 4890220"/>
                  <a:gd name="connsiteX6-613" fmla="*/ 1318327 w 3984859"/>
                  <a:gd name="connsiteY6-614" fmla="*/ 1949930 h 4890220"/>
                  <a:gd name="connsiteX7-615" fmla="*/ 1617044 w 3984859"/>
                  <a:gd name="connsiteY7-616" fmla="*/ 2401092 h 4890220"/>
                  <a:gd name="connsiteX8-617" fmla="*/ 2021305 w 3984859"/>
                  <a:gd name="connsiteY8-618" fmla="*/ 2766852 h 4890220"/>
                  <a:gd name="connsiteX9-619" fmla="*/ 2444817 w 3984859"/>
                  <a:gd name="connsiteY9-620" fmla="*/ 2632099 h 4890220"/>
                  <a:gd name="connsiteX10-621" fmla="*/ 2813207 w 3984859"/>
                  <a:gd name="connsiteY10-622" fmla="*/ 3565251 h 4890220"/>
                  <a:gd name="connsiteX11-623" fmla="*/ 3102386 w 3984859"/>
                  <a:gd name="connsiteY11-624" fmla="*/ 3630815 h 4890220"/>
                  <a:gd name="connsiteX12-625" fmla="*/ 3984859 w 3984859"/>
                  <a:gd name="connsiteY12-626" fmla="*/ 4884410 h 4890220"/>
                  <a:gd name="connsiteX13-627" fmla="*/ 2629207 w 3984859"/>
                  <a:gd name="connsiteY13-628" fmla="*/ 4890220 h 4890220"/>
                  <a:gd name="connsiteX14-629" fmla="*/ 2540951 w 3984859"/>
                  <a:gd name="connsiteY14-630" fmla="*/ 4686873 h 4890220"/>
                  <a:gd name="connsiteX15-631" fmla="*/ 1827129 w 3984859"/>
                  <a:gd name="connsiteY15-632" fmla="*/ 3632892 h 4890220"/>
                  <a:gd name="connsiteX16-633" fmla="*/ 1712027 w 3984859"/>
                  <a:gd name="connsiteY16-634" fmla="*/ 3564947 h 4890220"/>
                  <a:gd name="connsiteX17-635" fmla="*/ 1337243 w 3984859"/>
                  <a:gd name="connsiteY17-636" fmla="*/ 3532295 h 4890220"/>
                  <a:gd name="connsiteX18-637" fmla="*/ 615750 w 3984859"/>
                  <a:gd name="connsiteY18-638" fmla="*/ 3059888 h 4890220"/>
                  <a:gd name="connsiteX19-639" fmla="*/ 375385 w 3984859"/>
                  <a:gd name="connsiteY19-640" fmla="*/ 2006456 h 4890220"/>
                  <a:gd name="connsiteX20-641" fmla="*/ 221381 w 3984859"/>
                  <a:gd name="connsiteY20-642" fmla="*/ 1823576 h 4890220"/>
                  <a:gd name="connsiteX21-643" fmla="*/ 336884 w 3984859"/>
                  <a:gd name="connsiteY21-644" fmla="*/ 1197934 h 4890220"/>
                  <a:gd name="connsiteX22-645" fmla="*/ 0 w 3984859"/>
                  <a:gd name="connsiteY22-646" fmla="*/ 755172 h 4890220"/>
                  <a:gd name="connsiteX23-647" fmla="*/ 251725 w 3984859"/>
                  <a:gd name="connsiteY23-648" fmla="*/ 0 h 4890220"/>
                  <a:gd name="connsiteX0-649" fmla="*/ 251725 w 3984859"/>
                  <a:gd name="connsiteY0-650" fmla="*/ 0 h 4890220"/>
                  <a:gd name="connsiteX1-651" fmla="*/ 490889 w 3984859"/>
                  <a:gd name="connsiteY1-652" fmla="*/ 851425 h 4890220"/>
                  <a:gd name="connsiteX2-653" fmla="*/ 808522 w 3984859"/>
                  <a:gd name="connsiteY2-654" fmla="*/ 1159433 h 4890220"/>
                  <a:gd name="connsiteX3-655" fmla="*/ 1087655 w 3984859"/>
                  <a:gd name="connsiteY3-656" fmla="*/ 1765825 h 4890220"/>
                  <a:gd name="connsiteX4-657" fmla="*/ 1357162 w 3984859"/>
                  <a:gd name="connsiteY4-658" fmla="*/ 1611821 h 4890220"/>
                  <a:gd name="connsiteX5-659" fmla="*/ 1369127 w 3984859"/>
                  <a:gd name="connsiteY5-660" fmla="*/ 1818697 h 4890220"/>
                  <a:gd name="connsiteX6-661" fmla="*/ 1318327 w 3984859"/>
                  <a:gd name="connsiteY6-662" fmla="*/ 1949930 h 4890220"/>
                  <a:gd name="connsiteX7-663" fmla="*/ 1617044 w 3984859"/>
                  <a:gd name="connsiteY7-664" fmla="*/ 2401092 h 4890220"/>
                  <a:gd name="connsiteX8-665" fmla="*/ 2021305 w 3984859"/>
                  <a:gd name="connsiteY8-666" fmla="*/ 2766852 h 4890220"/>
                  <a:gd name="connsiteX9-667" fmla="*/ 2444817 w 3984859"/>
                  <a:gd name="connsiteY9-668" fmla="*/ 2632099 h 4890220"/>
                  <a:gd name="connsiteX10-669" fmla="*/ 2813207 w 3984859"/>
                  <a:gd name="connsiteY10-670" fmla="*/ 3565251 h 4890220"/>
                  <a:gd name="connsiteX11-671" fmla="*/ 3186328 w 3984859"/>
                  <a:gd name="connsiteY11-672" fmla="*/ 3609830 h 4890220"/>
                  <a:gd name="connsiteX12-673" fmla="*/ 3984859 w 3984859"/>
                  <a:gd name="connsiteY12-674" fmla="*/ 4884410 h 4890220"/>
                  <a:gd name="connsiteX13-675" fmla="*/ 2629207 w 3984859"/>
                  <a:gd name="connsiteY13-676" fmla="*/ 4890220 h 4890220"/>
                  <a:gd name="connsiteX14-677" fmla="*/ 2540951 w 3984859"/>
                  <a:gd name="connsiteY14-678" fmla="*/ 4686873 h 4890220"/>
                  <a:gd name="connsiteX15-679" fmla="*/ 1827129 w 3984859"/>
                  <a:gd name="connsiteY15-680" fmla="*/ 3632892 h 4890220"/>
                  <a:gd name="connsiteX16-681" fmla="*/ 1712027 w 3984859"/>
                  <a:gd name="connsiteY16-682" fmla="*/ 3564947 h 4890220"/>
                  <a:gd name="connsiteX17-683" fmla="*/ 1337243 w 3984859"/>
                  <a:gd name="connsiteY17-684" fmla="*/ 3532295 h 4890220"/>
                  <a:gd name="connsiteX18-685" fmla="*/ 615750 w 3984859"/>
                  <a:gd name="connsiteY18-686" fmla="*/ 3059888 h 4890220"/>
                  <a:gd name="connsiteX19-687" fmla="*/ 375385 w 3984859"/>
                  <a:gd name="connsiteY19-688" fmla="*/ 2006456 h 4890220"/>
                  <a:gd name="connsiteX20-689" fmla="*/ 221381 w 3984859"/>
                  <a:gd name="connsiteY20-690" fmla="*/ 1823576 h 4890220"/>
                  <a:gd name="connsiteX21-691" fmla="*/ 336884 w 3984859"/>
                  <a:gd name="connsiteY21-692" fmla="*/ 1197934 h 4890220"/>
                  <a:gd name="connsiteX22-693" fmla="*/ 0 w 3984859"/>
                  <a:gd name="connsiteY22-694" fmla="*/ 755172 h 4890220"/>
                  <a:gd name="connsiteX23-695" fmla="*/ 251725 w 3984859"/>
                  <a:gd name="connsiteY23-696" fmla="*/ 0 h 4890220"/>
                  <a:gd name="connsiteX0-697" fmla="*/ 251725 w 3984859"/>
                  <a:gd name="connsiteY0-698" fmla="*/ 0 h 4890220"/>
                  <a:gd name="connsiteX1-699" fmla="*/ 490889 w 3984859"/>
                  <a:gd name="connsiteY1-700" fmla="*/ 851425 h 4890220"/>
                  <a:gd name="connsiteX2-701" fmla="*/ 808522 w 3984859"/>
                  <a:gd name="connsiteY2-702" fmla="*/ 1159433 h 4890220"/>
                  <a:gd name="connsiteX3-703" fmla="*/ 1087655 w 3984859"/>
                  <a:gd name="connsiteY3-704" fmla="*/ 1765825 h 4890220"/>
                  <a:gd name="connsiteX4-705" fmla="*/ 1357162 w 3984859"/>
                  <a:gd name="connsiteY4-706" fmla="*/ 1611821 h 4890220"/>
                  <a:gd name="connsiteX5-707" fmla="*/ 1369127 w 3984859"/>
                  <a:gd name="connsiteY5-708" fmla="*/ 1818697 h 4890220"/>
                  <a:gd name="connsiteX6-709" fmla="*/ 1318327 w 3984859"/>
                  <a:gd name="connsiteY6-710" fmla="*/ 1949930 h 4890220"/>
                  <a:gd name="connsiteX7-711" fmla="*/ 1617044 w 3984859"/>
                  <a:gd name="connsiteY7-712" fmla="*/ 2401092 h 4890220"/>
                  <a:gd name="connsiteX8-713" fmla="*/ 1804455 w 3984859"/>
                  <a:gd name="connsiteY8-714" fmla="*/ 2759857 h 4890220"/>
                  <a:gd name="connsiteX9-715" fmla="*/ 2444817 w 3984859"/>
                  <a:gd name="connsiteY9-716" fmla="*/ 2632099 h 4890220"/>
                  <a:gd name="connsiteX10-717" fmla="*/ 2813207 w 3984859"/>
                  <a:gd name="connsiteY10-718" fmla="*/ 3565251 h 4890220"/>
                  <a:gd name="connsiteX11-719" fmla="*/ 3186328 w 3984859"/>
                  <a:gd name="connsiteY11-720" fmla="*/ 3609830 h 4890220"/>
                  <a:gd name="connsiteX12-721" fmla="*/ 3984859 w 3984859"/>
                  <a:gd name="connsiteY12-722" fmla="*/ 4884410 h 4890220"/>
                  <a:gd name="connsiteX13-723" fmla="*/ 2629207 w 3984859"/>
                  <a:gd name="connsiteY13-724" fmla="*/ 4890220 h 4890220"/>
                  <a:gd name="connsiteX14-725" fmla="*/ 2540951 w 3984859"/>
                  <a:gd name="connsiteY14-726" fmla="*/ 4686873 h 4890220"/>
                  <a:gd name="connsiteX15-727" fmla="*/ 1827129 w 3984859"/>
                  <a:gd name="connsiteY15-728" fmla="*/ 3632892 h 4890220"/>
                  <a:gd name="connsiteX16-729" fmla="*/ 1712027 w 3984859"/>
                  <a:gd name="connsiteY16-730" fmla="*/ 3564947 h 4890220"/>
                  <a:gd name="connsiteX17-731" fmla="*/ 1337243 w 3984859"/>
                  <a:gd name="connsiteY17-732" fmla="*/ 3532295 h 4890220"/>
                  <a:gd name="connsiteX18-733" fmla="*/ 615750 w 3984859"/>
                  <a:gd name="connsiteY18-734" fmla="*/ 3059888 h 4890220"/>
                  <a:gd name="connsiteX19-735" fmla="*/ 375385 w 3984859"/>
                  <a:gd name="connsiteY19-736" fmla="*/ 2006456 h 4890220"/>
                  <a:gd name="connsiteX20-737" fmla="*/ 221381 w 3984859"/>
                  <a:gd name="connsiteY20-738" fmla="*/ 1823576 h 4890220"/>
                  <a:gd name="connsiteX21-739" fmla="*/ 336884 w 3984859"/>
                  <a:gd name="connsiteY21-740" fmla="*/ 1197934 h 4890220"/>
                  <a:gd name="connsiteX22-741" fmla="*/ 0 w 3984859"/>
                  <a:gd name="connsiteY22-742" fmla="*/ 755172 h 4890220"/>
                  <a:gd name="connsiteX23-743" fmla="*/ 251725 w 3984859"/>
                  <a:gd name="connsiteY23-744" fmla="*/ 0 h 4890220"/>
                  <a:gd name="connsiteX0-745" fmla="*/ 251725 w 3984859"/>
                  <a:gd name="connsiteY0-746" fmla="*/ 0 h 4890220"/>
                  <a:gd name="connsiteX1-747" fmla="*/ 490889 w 3984859"/>
                  <a:gd name="connsiteY1-748" fmla="*/ 851425 h 4890220"/>
                  <a:gd name="connsiteX2-749" fmla="*/ 808522 w 3984859"/>
                  <a:gd name="connsiteY2-750" fmla="*/ 1159433 h 4890220"/>
                  <a:gd name="connsiteX3-751" fmla="*/ 1087655 w 3984859"/>
                  <a:gd name="connsiteY3-752" fmla="*/ 1765825 h 4890220"/>
                  <a:gd name="connsiteX4-753" fmla="*/ 1357162 w 3984859"/>
                  <a:gd name="connsiteY4-754" fmla="*/ 1611821 h 4890220"/>
                  <a:gd name="connsiteX5-755" fmla="*/ 1369127 w 3984859"/>
                  <a:gd name="connsiteY5-756" fmla="*/ 1818697 h 4890220"/>
                  <a:gd name="connsiteX6-757" fmla="*/ 1318327 w 3984859"/>
                  <a:gd name="connsiteY6-758" fmla="*/ 1949930 h 4890220"/>
                  <a:gd name="connsiteX7-759" fmla="*/ 1617044 w 3984859"/>
                  <a:gd name="connsiteY7-760" fmla="*/ 2401092 h 4890220"/>
                  <a:gd name="connsiteX8-761" fmla="*/ 1804455 w 3984859"/>
                  <a:gd name="connsiteY8-762" fmla="*/ 2759857 h 4890220"/>
                  <a:gd name="connsiteX9-763" fmla="*/ 2109049 w 3984859"/>
                  <a:gd name="connsiteY9-764" fmla="*/ 3002843 h 4890220"/>
                  <a:gd name="connsiteX10-765" fmla="*/ 2813207 w 3984859"/>
                  <a:gd name="connsiteY10-766" fmla="*/ 3565251 h 4890220"/>
                  <a:gd name="connsiteX11-767" fmla="*/ 3186328 w 3984859"/>
                  <a:gd name="connsiteY11-768" fmla="*/ 3609830 h 4890220"/>
                  <a:gd name="connsiteX12-769" fmla="*/ 3984859 w 3984859"/>
                  <a:gd name="connsiteY12-770" fmla="*/ 4884410 h 4890220"/>
                  <a:gd name="connsiteX13-771" fmla="*/ 2629207 w 3984859"/>
                  <a:gd name="connsiteY13-772" fmla="*/ 4890220 h 4890220"/>
                  <a:gd name="connsiteX14-773" fmla="*/ 2540951 w 3984859"/>
                  <a:gd name="connsiteY14-774" fmla="*/ 4686873 h 4890220"/>
                  <a:gd name="connsiteX15-775" fmla="*/ 1827129 w 3984859"/>
                  <a:gd name="connsiteY15-776" fmla="*/ 3632892 h 4890220"/>
                  <a:gd name="connsiteX16-777" fmla="*/ 1712027 w 3984859"/>
                  <a:gd name="connsiteY16-778" fmla="*/ 3564947 h 4890220"/>
                  <a:gd name="connsiteX17-779" fmla="*/ 1337243 w 3984859"/>
                  <a:gd name="connsiteY17-780" fmla="*/ 3532295 h 4890220"/>
                  <a:gd name="connsiteX18-781" fmla="*/ 615750 w 3984859"/>
                  <a:gd name="connsiteY18-782" fmla="*/ 3059888 h 4890220"/>
                  <a:gd name="connsiteX19-783" fmla="*/ 375385 w 3984859"/>
                  <a:gd name="connsiteY19-784" fmla="*/ 2006456 h 4890220"/>
                  <a:gd name="connsiteX20-785" fmla="*/ 221381 w 3984859"/>
                  <a:gd name="connsiteY20-786" fmla="*/ 1823576 h 4890220"/>
                  <a:gd name="connsiteX21-787" fmla="*/ 336884 w 3984859"/>
                  <a:gd name="connsiteY21-788" fmla="*/ 1197934 h 4890220"/>
                  <a:gd name="connsiteX22-789" fmla="*/ 0 w 3984859"/>
                  <a:gd name="connsiteY22-790" fmla="*/ 755172 h 4890220"/>
                  <a:gd name="connsiteX23-791" fmla="*/ 251725 w 3984859"/>
                  <a:gd name="connsiteY23-792" fmla="*/ 0 h 4890220"/>
                  <a:gd name="connsiteX0-793" fmla="*/ 251725 w 3984859"/>
                  <a:gd name="connsiteY0-794" fmla="*/ 0 h 4890220"/>
                  <a:gd name="connsiteX1-795" fmla="*/ 490889 w 3984859"/>
                  <a:gd name="connsiteY1-796" fmla="*/ 851425 h 4890220"/>
                  <a:gd name="connsiteX2-797" fmla="*/ 808522 w 3984859"/>
                  <a:gd name="connsiteY2-798" fmla="*/ 1159433 h 4890220"/>
                  <a:gd name="connsiteX3-799" fmla="*/ 1087655 w 3984859"/>
                  <a:gd name="connsiteY3-800" fmla="*/ 1765825 h 4890220"/>
                  <a:gd name="connsiteX4-801" fmla="*/ 1357162 w 3984859"/>
                  <a:gd name="connsiteY4-802" fmla="*/ 1611821 h 4890220"/>
                  <a:gd name="connsiteX5-803" fmla="*/ 1369127 w 3984859"/>
                  <a:gd name="connsiteY5-804" fmla="*/ 1818697 h 4890220"/>
                  <a:gd name="connsiteX6-805" fmla="*/ 1318327 w 3984859"/>
                  <a:gd name="connsiteY6-806" fmla="*/ 1949930 h 4890220"/>
                  <a:gd name="connsiteX7-807" fmla="*/ 1617044 w 3984859"/>
                  <a:gd name="connsiteY7-808" fmla="*/ 2401092 h 4890220"/>
                  <a:gd name="connsiteX8-809" fmla="*/ 1804455 w 3984859"/>
                  <a:gd name="connsiteY8-810" fmla="*/ 2759857 h 4890220"/>
                  <a:gd name="connsiteX9-811" fmla="*/ 2109049 w 3984859"/>
                  <a:gd name="connsiteY9-812" fmla="*/ 3002843 h 4890220"/>
                  <a:gd name="connsiteX10-813" fmla="*/ 2381884 w 3984859"/>
                  <a:gd name="connsiteY10-814" fmla="*/ 3434950 h 4890220"/>
                  <a:gd name="connsiteX11-815" fmla="*/ 2813207 w 3984859"/>
                  <a:gd name="connsiteY11-816" fmla="*/ 3565251 h 4890220"/>
                  <a:gd name="connsiteX12-817" fmla="*/ 3186328 w 3984859"/>
                  <a:gd name="connsiteY12-818" fmla="*/ 3609830 h 4890220"/>
                  <a:gd name="connsiteX13-819" fmla="*/ 3984859 w 3984859"/>
                  <a:gd name="connsiteY13-820" fmla="*/ 4884410 h 4890220"/>
                  <a:gd name="connsiteX14-821" fmla="*/ 2629207 w 3984859"/>
                  <a:gd name="connsiteY14-822" fmla="*/ 4890220 h 4890220"/>
                  <a:gd name="connsiteX15-823" fmla="*/ 2540951 w 3984859"/>
                  <a:gd name="connsiteY15-824" fmla="*/ 4686873 h 4890220"/>
                  <a:gd name="connsiteX16-825" fmla="*/ 1827129 w 3984859"/>
                  <a:gd name="connsiteY16-826" fmla="*/ 3632892 h 4890220"/>
                  <a:gd name="connsiteX17-827" fmla="*/ 1712027 w 3984859"/>
                  <a:gd name="connsiteY17-828" fmla="*/ 3564947 h 4890220"/>
                  <a:gd name="connsiteX18-829" fmla="*/ 1337243 w 3984859"/>
                  <a:gd name="connsiteY18-830" fmla="*/ 3532295 h 4890220"/>
                  <a:gd name="connsiteX19-831" fmla="*/ 615750 w 3984859"/>
                  <a:gd name="connsiteY19-832" fmla="*/ 3059888 h 4890220"/>
                  <a:gd name="connsiteX20-833" fmla="*/ 375385 w 3984859"/>
                  <a:gd name="connsiteY20-834" fmla="*/ 2006456 h 4890220"/>
                  <a:gd name="connsiteX21-835" fmla="*/ 221381 w 3984859"/>
                  <a:gd name="connsiteY21-836" fmla="*/ 1823576 h 4890220"/>
                  <a:gd name="connsiteX22-837" fmla="*/ 336884 w 3984859"/>
                  <a:gd name="connsiteY22-838" fmla="*/ 1197934 h 4890220"/>
                  <a:gd name="connsiteX23-839" fmla="*/ 0 w 3984859"/>
                  <a:gd name="connsiteY23-840" fmla="*/ 755172 h 4890220"/>
                  <a:gd name="connsiteX24" fmla="*/ 251725 w 3984859"/>
                  <a:gd name="connsiteY24" fmla="*/ 0 h 4890220"/>
                  <a:gd name="connsiteX0-841" fmla="*/ 606146 w 4339280"/>
                  <a:gd name="connsiteY0-842" fmla="*/ 0 h 4890220"/>
                  <a:gd name="connsiteX1-843" fmla="*/ 845310 w 4339280"/>
                  <a:gd name="connsiteY1-844" fmla="*/ 851425 h 4890220"/>
                  <a:gd name="connsiteX2-845" fmla="*/ 1162943 w 4339280"/>
                  <a:gd name="connsiteY2-846" fmla="*/ 1159433 h 4890220"/>
                  <a:gd name="connsiteX3-847" fmla="*/ 1442076 w 4339280"/>
                  <a:gd name="connsiteY3-848" fmla="*/ 1765825 h 4890220"/>
                  <a:gd name="connsiteX4-849" fmla="*/ 1711583 w 4339280"/>
                  <a:gd name="connsiteY4-850" fmla="*/ 1611821 h 4890220"/>
                  <a:gd name="connsiteX5-851" fmla="*/ 1723548 w 4339280"/>
                  <a:gd name="connsiteY5-852" fmla="*/ 1818697 h 4890220"/>
                  <a:gd name="connsiteX6-853" fmla="*/ 1672748 w 4339280"/>
                  <a:gd name="connsiteY6-854" fmla="*/ 1949930 h 4890220"/>
                  <a:gd name="connsiteX7-855" fmla="*/ 1971465 w 4339280"/>
                  <a:gd name="connsiteY7-856" fmla="*/ 2401092 h 4890220"/>
                  <a:gd name="connsiteX8-857" fmla="*/ 2158876 w 4339280"/>
                  <a:gd name="connsiteY8-858" fmla="*/ 2759857 h 4890220"/>
                  <a:gd name="connsiteX9-859" fmla="*/ 2463470 w 4339280"/>
                  <a:gd name="connsiteY9-860" fmla="*/ 3002843 h 4890220"/>
                  <a:gd name="connsiteX10-861" fmla="*/ 2736305 w 4339280"/>
                  <a:gd name="connsiteY10-862" fmla="*/ 3434950 h 4890220"/>
                  <a:gd name="connsiteX11-863" fmla="*/ 3167628 w 4339280"/>
                  <a:gd name="connsiteY11-864" fmla="*/ 3565251 h 4890220"/>
                  <a:gd name="connsiteX12-865" fmla="*/ 3540749 w 4339280"/>
                  <a:gd name="connsiteY12-866" fmla="*/ 3609830 h 4890220"/>
                  <a:gd name="connsiteX13-867" fmla="*/ 4339280 w 4339280"/>
                  <a:gd name="connsiteY13-868" fmla="*/ 4884410 h 4890220"/>
                  <a:gd name="connsiteX14-869" fmla="*/ 2983628 w 4339280"/>
                  <a:gd name="connsiteY14-870" fmla="*/ 4890220 h 4890220"/>
                  <a:gd name="connsiteX15-871" fmla="*/ 2895372 w 4339280"/>
                  <a:gd name="connsiteY15-872" fmla="*/ 4686873 h 4890220"/>
                  <a:gd name="connsiteX16-873" fmla="*/ 2181550 w 4339280"/>
                  <a:gd name="connsiteY16-874" fmla="*/ 3632892 h 4890220"/>
                  <a:gd name="connsiteX17-875" fmla="*/ 2066448 w 4339280"/>
                  <a:gd name="connsiteY17-876" fmla="*/ 3564947 h 4890220"/>
                  <a:gd name="connsiteX18-877" fmla="*/ 1691664 w 4339280"/>
                  <a:gd name="connsiteY18-878" fmla="*/ 3532295 h 4890220"/>
                  <a:gd name="connsiteX19-879" fmla="*/ 970171 w 4339280"/>
                  <a:gd name="connsiteY19-880" fmla="*/ 3059888 h 4890220"/>
                  <a:gd name="connsiteX20-881" fmla="*/ 729806 w 4339280"/>
                  <a:gd name="connsiteY20-882" fmla="*/ 2006456 h 4890220"/>
                  <a:gd name="connsiteX21-883" fmla="*/ 575802 w 4339280"/>
                  <a:gd name="connsiteY21-884" fmla="*/ 1823576 h 4890220"/>
                  <a:gd name="connsiteX22-885" fmla="*/ 691305 w 4339280"/>
                  <a:gd name="connsiteY22-886" fmla="*/ 1197934 h 4890220"/>
                  <a:gd name="connsiteX23-887" fmla="*/ 0 w 4339280"/>
                  <a:gd name="connsiteY23-888" fmla="*/ 1081613 h 4890220"/>
                  <a:gd name="connsiteX24-889" fmla="*/ 606146 w 4339280"/>
                  <a:gd name="connsiteY24-890" fmla="*/ 0 h 4890220"/>
                  <a:gd name="connsiteX0-891" fmla="*/ 606146 w 4339280"/>
                  <a:gd name="connsiteY0-892" fmla="*/ 0 h 4890220"/>
                  <a:gd name="connsiteX1-893" fmla="*/ 845310 w 4339280"/>
                  <a:gd name="connsiteY1-894" fmla="*/ 851425 h 4890220"/>
                  <a:gd name="connsiteX2-895" fmla="*/ 1162943 w 4339280"/>
                  <a:gd name="connsiteY2-896" fmla="*/ 1159433 h 4890220"/>
                  <a:gd name="connsiteX3-897" fmla="*/ 1442076 w 4339280"/>
                  <a:gd name="connsiteY3-898" fmla="*/ 1765825 h 4890220"/>
                  <a:gd name="connsiteX4-899" fmla="*/ 1711583 w 4339280"/>
                  <a:gd name="connsiteY4-900" fmla="*/ 1611821 h 4890220"/>
                  <a:gd name="connsiteX5-901" fmla="*/ 1723548 w 4339280"/>
                  <a:gd name="connsiteY5-902" fmla="*/ 1818697 h 4890220"/>
                  <a:gd name="connsiteX6-903" fmla="*/ 1672748 w 4339280"/>
                  <a:gd name="connsiteY6-904" fmla="*/ 1949930 h 4890220"/>
                  <a:gd name="connsiteX7-905" fmla="*/ 1971465 w 4339280"/>
                  <a:gd name="connsiteY7-906" fmla="*/ 2401092 h 4890220"/>
                  <a:gd name="connsiteX8-907" fmla="*/ 2158876 w 4339280"/>
                  <a:gd name="connsiteY8-908" fmla="*/ 2759857 h 4890220"/>
                  <a:gd name="connsiteX9-909" fmla="*/ 2463470 w 4339280"/>
                  <a:gd name="connsiteY9-910" fmla="*/ 3002843 h 4890220"/>
                  <a:gd name="connsiteX10-911" fmla="*/ 2736305 w 4339280"/>
                  <a:gd name="connsiteY10-912" fmla="*/ 3434950 h 4890220"/>
                  <a:gd name="connsiteX11-913" fmla="*/ 3167628 w 4339280"/>
                  <a:gd name="connsiteY11-914" fmla="*/ 3565251 h 4890220"/>
                  <a:gd name="connsiteX12-915" fmla="*/ 3540749 w 4339280"/>
                  <a:gd name="connsiteY12-916" fmla="*/ 3609830 h 4890220"/>
                  <a:gd name="connsiteX13-917" fmla="*/ 4339280 w 4339280"/>
                  <a:gd name="connsiteY13-918" fmla="*/ 4884410 h 4890220"/>
                  <a:gd name="connsiteX14-919" fmla="*/ 2983628 w 4339280"/>
                  <a:gd name="connsiteY14-920" fmla="*/ 4890220 h 4890220"/>
                  <a:gd name="connsiteX15-921" fmla="*/ 2895372 w 4339280"/>
                  <a:gd name="connsiteY15-922" fmla="*/ 4686873 h 4890220"/>
                  <a:gd name="connsiteX16-923" fmla="*/ 2181550 w 4339280"/>
                  <a:gd name="connsiteY16-924" fmla="*/ 3632892 h 4890220"/>
                  <a:gd name="connsiteX17-925" fmla="*/ 2066448 w 4339280"/>
                  <a:gd name="connsiteY17-926" fmla="*/ 3564947 h 4890220"/>
                  <a:gd name="connsiteX18-927" fmla="*/ 1691664 w 4339280"/>
                  <a:gd name="connsiteY18-928" fmla="*/ 3532295 h 4890220"/>
                  <a:gd name="connsiteX19-929" fmla="*/ 970171 w 4339280"/>
                  <a:gd name="connsiteY19-930" fmla="*/ 3059888 h 4890220"/>
                  <a:gd name="connsiteX20-931" fmla="*/ 729806 w 4339280"/>
                  <a:gd name="connsiteY20-932" fmla="*/ 2006456 h 4890220"/>
                  <a:gd name="connsiteX21-933" fmla="*/ 575802 w 4339280"/>
                  <a:gd name="connsiteY21-934" fmla="*/ 1823576 h 4890220"/>
                  <a:gd name="connsiteX22-935" fmla="*/ 243615 w 4339280"/>
                  <a:gd name="connsiteY22-936" fmla="*/ 1365818 h 4890220"/>
                  <a:gd name="connsiteX23-937" fmla="*/ 0 w 4339280"/>
                  <a:gd name="connsiteY23-938" fmla="*/ 1081613 h 4890220"/>
                  <a:gd name="connsiteX24-939" fmla="*/ 606146 w 4339280"/>
                  <a:gd name="connsiteY24-940" fmla="*/ 0 h 4890220"/>
                  <a:gd name="connsiteX0-941" fmla="*/ 568838 w 4301972"/>
                  <a:gd name="connsiteY0-942" fmla="*/ 0 h 4890220"/>
                  <a:gd name="connsiteX1-943" fmla="*/ 808002 w 4301972"/>
                  <a:gd name="connsiteY1-944" fmla="*/ 851425 h 4890220"/>
                  <a:gd name="connsiteX2-945" fmla="*/ 1125635 w 4301972"/>
                  <a:gd name="connsiteY2-946" fmla="*/ 1159433 h 4890220"/>
                  <a:gd name="connsiteX3-947" fmla="*/ 1404768 w 4301972"/>
                  <a:gd name="connsiteY3-948" fmla="*/ 1765825 h 4890220"/>
                  <a:gd name="connsiteX4-949" fmla="*/ 1674275 w 4301972"/>
                  <a:gd name="connsiteY4-950" fmla="*/ 1611821 h 4890220"/>
                  <a:gd name="connsiteX5-951" fmla="*/ 1686240 w 4301972"/>
                  <a:gd name="connsiteY5-952" fmla="*/ 1818697 h 4890220"/>
                  <a:gd name="connsiteX6-953" fmla="*/ 1635440 w 4301972"/>
                  <a:gd name="connsiteY6-954" fmla="*/ 1949930 h 4890220"/>
                  <a:gd name="connsiteX7-955" fmla="*/ 1934157 w 4301972"/>
                  <a:gd name="connsiteY7-956" fmla="*/ 2401092 h 4890220"/>
                  <a:gd name="connsiteX8-957" fmla="*/ 2121568 w 4301972"/>
                  <a:gd name="connsiteY8-958" fmla="*/ 2759857 h 4890220"/>
                  <a:gd name="connsiteX9-959" fmla="*/ 2426162 w 4301972"/>
                  <a:gd name="connsiteY9-960" fmla="*/ 3002843 h 4890220"/>
                  <a:gd name="connsiteX10-961" fmla="*/ 2698997 w 4301972"/>
                  <a:gd name="connsiteY10-962" fmla="*/ 3434950 h 4890220"/>
                  <a:gd name="connsiteX11-963" fmla="*/ 3130320 w 4301972"/>
                  <a:gd name="connsiteY11-964" fmla="*/ 3565251 h 4890220"/>
                  <a:gd name="connsiteX12-965" fmla="*/ 3503441 w 4301972"/>
                  <a:gd name="connsiteY12-966" fmla="*/ 3609830 h 4890220"/>
                  <a:gd name="connsiteX13-967" fmla="*/ 4301972 w 4301972"/>
                  <a:gd name="connsiteY13-968" fmla="*/ 4884410 h 4890220"/>
                  <a:gd name="connsiteX14-969" fmla="*/ 2946320 w 4301972"/>
                  <a:gd name="connsiteY14-970" fmla="*/ 4890220 h 4890220"/>
                  <a:gd name="connsiteX15-971" fmla="*/ 2858064 w 4301972"/>
                  <a:gd name="connsiteY15-972" fmla="*/ 4686873 h 4890220"/>
                  <a:gd name="connsiteX16-973" fmla="*/ 2144242 w 4301972"/>
                  <a:gd name="connsiteY16-974" fmla="*/ 3632892 h 4890220"/>
                  <a:gd name="connsiteX17-975" fmla="*/ 2029140 w 4301972"/>
                  <a:gd name="connsiteY17-976" fmla="*/ 3564947 h 4890220"/>
                  <a:gd name="connsiteX18-977" fmla="*/ 1654356 w 4301972"/>
                  <a:gd name="connsiteY18-978" fmla="*/ 3532295 h 4890220"/>
                  <a:gd name="connsiteX19-979" fmla="*/ 932863 w 4301972"/>
                  <a:gd name="connsiteY19-980" fmla="*/ 3059888 h 4890220"/>
                  <a:gd name="connsiteX20-981" fmla="*/ 692498 w 4301972"/>
                  <a:gd name="connsiteY20-982" fmla="*/ 2006456 h 4890220"/>
                  <a:gd name="connsiteX21-983" fmla="*/ 538494 w 4301972"/>
                  <a:gd name="connsiteY21-984" fmla="*/ 1823576 h 4890220"/>
                  <a:gd name="connsiteX22-985" fmla="*/ 206307 w 4301972"/>
                  <a:gd name="connsiteY22-986" fmla="*/ 1365818 h 4890220"/>
                  <a:gd name="connsiteX23-987" fmla="*/ 0 w 4301972"/>
                  <a:gd name="connsiteY23-988" fmla="*/ 1062960 h 4890220"/>
                  <a:gd name="connsiteX24-989" fmla="*/ 568838 w 4301972"/>
                  <a:gd name="connsiteY24-990" fmla="*/ 0 h 4890220"/>
                  <a:gd name="connsiteX0-991" fmla="*/ 568838 w 4301972"/>
                  <a:gd name="connsiteY0-992" fmla="*/ 0 h 4890220"/>
                  <a:gd name="connsiteX1-993" fmla="*/ 808002 w 4301972"/>
                  <a:gd name="connsiteY1-994" fmla="*/ 851425 h 4890220"/>
                  <a:gd name="connsiteX2-995" fmla="*/ 1125635 w 4301972"/>
                  <a:gd name="connsiteY2-996" fmla="*/ 1159433 h 4890220"/>
                  <a:gd name="connsiteX3-997" fmla="*/ 1404768 w 4301972"/>
                  <a:gd name="connsiteY3-998" fmla="*/ 1765825 h 4890220"/>
                  <a:gd name="connsiteX4-999" fmla="*/ 1674275 w 4301972"/>
                  <a:gd name="connsiteY4-1000" fmla="*/ 1611821 h 4890220"/>
                  <a:gd name="connsiteX5-1001" fmla="*/ 1686240 w 4301972"/>
                  <a:gd name="connsiteY5-1002" fmla="*/ 1818697 h 4890220"/>
                  <a:gd name="connsiteX6-1003" fmla="*/ 1635440 w 4301972"/>
                  <a:gd name="connsiteY6-1004" fmla="*/ 1949930 h 4890220"/>
                  <a:gd name="connsiteX7-1005" fmla="*/ 1934157 w 4301972"/>
                  <a:gd name="connsiteY7-1006" fmla="*/ 2401092 h 4890220"/>
                  <a:gd name="connsiteX8-1007" fmla="*/ 2121568 w 4301972"/>
                  <a:gd name="connsiteY8-1008" fmla="*/ 2759857 h 4890220"/>
                  <a:gd name="connsiteX9-1009" fmla="*/ 2426162 w 4301972"/>
                  <a:gd name="connsiteY9-1010" fmla="*/ 3002843 h 4890220"/>
                  <a:gd name="connsiteX10-1011" fmla="*/ 2698997 w 4301972"/>
                  <a:gd name="connsiteY10-1012" fmla="*/ 3434950 h 4890220"/>
                  <a:gd name="connsiteX11-1013" fmla="*/ 3130320 w 4301972"/>
                  <a:gd name="connsiteY11-1014" fmla="*/ 3565251 h 4890220"/>
                  <a:gd name="connsiteX12-1015" fmla="*/ 3503441 w 4301972"/>
                  <a:gd name="connsiteY12-1016" fmla="*/ 3609830 h 4890220"/>
                  <a:gd name="connsiteX13-1017" fmla="*/ 4301972 w 4301972"/>
                  <a:gd name="connsiteY13-1018" fmla="*/ 4884410 h 4890220"/>
                  <a:gd name="connsiteX14-1019" fmla="*/ 2946320 w 4301972"/>
                  <a:gd name="connsiteY14-1020" fmla="*/ 4890220 h 4890220"/>
                  <a:gd name="connsiteX15-1021" fmla="*/ 2858064 w 4301972"/>
                  <a:gd name="connsiteY15-1022" fmla="*/ 4686873 h 4890220"/>
                  <a:gd name="connsiteX16-1023" fmla="*/ 2144242 w 4301972"/>
                  <a:gd name="connsiteY16-1024" fmla="*/ 3632892 h 4890220"/>
                  <a:gd name="connsiteX17-1025" fmla="*/ 2029140 w 4301972"/>
                  <a:gd name="connsiteY17-1026" fmla="*/ 3564947 h 4890220"/>
                  <a:gd name="connsiteX18-1027" fmla="*/ 1654356 w 4301972"/>
                  <a:gd name="connsiteY18-1028" fmla="*/ 3532295 h 4890220"/>
                  <a:gd name="connsiteX19-1029" fmla="*/ 932863 w 4301972"/>
                  <a:gd name="connsiteY19-1030" fmla="*/ 3059888 h 4890220"/>
                  <a:gd name="connsiteX20-1031" fmla="*/ 1350044 w 4301972"/>
                  <a:gd name="connsiteY20-1032" fmla="*/ 1866553 h 4890220"/>
                  <a:gd name="connsiteX21-1033" fmla="*/ 538494 w 4301972"/>
                  <a:gd name="connsiteY21-1034" fmla="*/ 1823576 h 4890220"/>
                  <a:gd name="connsiteX22-1035" fmla="*/ 206307 w 4301972"/>
                  <a:gd name="connsiteY22-1036" fmla="*/ 1365818 h 4890220"/>
                  <a:gd name="connsiteX23-1037" fmla="*/ 0 w 4301972"/>
                  <a:gd name="connsiteY23-1038" fmla="*/ 1062960 h 4890220"/>
                  <a:gd name="connsiteX24-1039" fmla="*/ 568838 w 4301972"/>
                  <a:gd name="connsiteY24-1040" fmla="*/ 0 h 4890220"/>
                  <a:gd name="connsiteX0-1041" fmla="*/ 568838 w 4301972"/>
                  <a:gd name="connsiteY0-1042" fmla="*/ 0 h 4890220"/>
                  <a:gd name="connsiteX1-1043" fmla="*/ 808002 w 4301972"/>
                  <a:gd name="connsiteY1-1044" fmla="*/ 851425 h 4890220"/>
                  <a:gd name="connsiteX2-1045" fmla="*/ 1125635 w 4301972"/>
                  <a:gd name="connsiteY2-1046" fmla="*/ 1159433 h 4890220"/>
                  <a:gd name="connsiteX3-1047" fmla="*/ 1404768 w 4301972"/>
                  <a:gd name="connsiteY3-1048" fmla="*/ 1765825 h 4890220"/>
                  <a:gd name="connsiteX4-1049" fmla="*/ 1674275 w 4301972"/>
                  <a:gd name="connsiteY4-1050" fmla="*/ 1611821 h 4890220"/>
                  <a:gd name="connsiteX5-1051" fmla="*/ 1686240 w 4301972"/>
                  <a:gd name="connsiteY5-1052" fmla="*/ 1818697 h 4890220"/>
                  <a:gd name="connsiteX6-1053" fmla="*/ 1635440 w 4301972"/>
                  <a:gd name="connsiteY6-1054" fmla="*/ 1949930 h 4890220"/>
                  <a:gd name="connsiteX7-1055" fmla="*/ 1934157 w 4301972"/>
                  <a:gd name="connsiteY7-1056" fmla="*/ 2401092 h 4890220"/>
                  <a:gd name="connsiteX8-1057" fmla="*/ 2121568 w 4301972"/>
                  <a:gd name="connsiteY8-1058" fmla="*/ 2759857 h 4890220"/>
                  <a:gd name="connsiteX9-1059" fmla="*/ 2426162 w 4301972"/>
                  <a:gd name="connsiteY9-1060" fmla="*/ 3002843 h 4890220"/>
                  <a:gd name="connsiteX10-1061" fmla="*/ 2698997 w 4301972"/>
                  <a:gd name="connsiteY10-1062" fmla="*/ 3434950 h 4890220"/>
                  <a:gd name="connsiteX11-1063" fmla="*/ 3130320 w 4301972"/>
                  <a:gd name="connsiteY11-1064" fmla="*/ 3565251 h 4890220"/>
                  <a:gd name="connsiteX12-1065" fmla="*/ 3503441 w 4301972"/>
                  <a:gd name="connsiteY12-1066" fmla="*/ 3609830 h 4890220"/>
                  <a:gd name="connsiteX13-1067" fmla="*/ 4301972 w 4301972"/>
                  <a:gd name="connsiteY13-1068" fmla="*/ 4884410 h 4890220"/>
                  <a:gd name="connsiteX14-1069" fmla="*/ 2946320 w 4301972"/>
                  <a:gd name="connsiteY14-1070" fmla="*/ 4890220 h 4890220"/>
                  <a:gd name="connsiteX15-1071" fmla="*/ 2858064 w 4301972"/>
                  <a:gd name="connsiteY15-1072" fmla="*/ 4686873 h 4890220"/>
                  <a:gd name="connsiteX16-1073" fmla="*/ 2144242 w 4301972"/>
                  <a:gd name="connsiteY16-1074" fmla="*/ 3632892 h 4890220"/>
                  <a:gd name="connsiteX17-1075" fmla="*/ 2029140 w 4301972"/>
                  <a:gd name="connsiteY17-1076" fmla="*/ 3564947 h 4890220"/>
                  <a:gd name="connsiteX18-1077" fmla="*/ 1654356 w 4301972"/>
                  <a:gd name="connsiteY18-1078" fmla="*/ 3532295 h 4890220"/>
                  <a:gd name="connsiteX19-1079" fmla="*/ 932863 w 4301972"/>
                  <a:gd name="connsiteY19-1080" fmla="*/ 3059888 h 4890220"/>
                  <a:gd name="connsiteX20-1081" fmla="*/ 1350044 w 4301972"/>
                  <a:gd name="connsiteY20-1082" fmla="*/ 1866553 h 4890220"/>
                  <a:gd name="connsiteX21-1083" fmla="*/ 538494 w 4301972"/>
                  <a:gd name="connsiteY21-1084" fmla="*/ 1823576 h 4890220"/>
                  <a:gd name="connsiteX22-1085" fmla="*/ 842867 w 4301972"/>
                  <a:gd name="connsiteY22-1086" fmla="*/ 1379809 h 4890220"/>
                  <a:gd name="connsiteX23-1087" fmla="*/ 0 w 4301972"/>
                  <a:gd name="connsiteY23-1088" fmla="*/ 1062960 h 4890220"/>
                  <a:gd name="connsiteX24-1089" fmla="*/ 568838 w 4301972"/>
                  <a:gd name="connsiteY24-1090" fmla="*/ 0 h 4890220"/>
                  <a:gd name="connsiteX0-1091" fmla="*/ 568838 w 4301972"/>
                  <a:gd name="connsiteY0-1092" fmla="*/ 0 h 4890220"/>
                  <a:gd name="connsiteX1-1093" fmla="*/ 808002 w 4301972"/>
                  <a:gd name="connsiteY1-1094" fmla="*/ 851425 h 4890220"/>
                  <a:gd name="connsiteX2-1095" fmla="*/ 1125635 w 4301972"/>
                  <a:gd name="connsiteY2-1096" fmla="*/ 1159433 h 4890220"/>
                  <a:gd name="connsiteX3-1097" fmla="*/ 1404768 w 4301972"/>
                  <a:gd name="connsiteY3-1098" fmla="*/ 1765825 h 4890220"/>
                  <a:gd name="connsiteX4-1099" fmla="*/ 1674275 w 4301972"/>
                  <a:gd name="connsiteY4-1100" fmla="*/ 1611821 h 4890220"/>
                  <a:gd name="connsiteX5-1101" fmla="*/ 1686240 w 4301972"/>
                  <a:gd name="connsiteY5-1102" fmla="*/ 1818697 h 4890220"/>
                  <a:gd name="connsiteX6-1103" fmla="*/ 1635440 w 4301972"/>
                  <a:gd name="connsiteY6-1104" fmla="*/ 1949930 h 4890220"/>
                  <a:gd name="connsiteX7-1105" fmla="*/ 1934157 w 4301972"/>
                  <a:gd name="connsiteY7-1106" fmla="*/ 2401092 h 4890220"/>
                  <a:gd name="connsiteX8-1107" fmla="*/ 2121568 w 4301972"/>
                  <a:gd name="connsiteY8-1108" fmla="*/ 2759857 h 4890220"/>
                  <a:gd name="connsiteX9-1109" fmla="*/ 2426162 w 4301972"/>
                  <a:gd name="connsiteY9-1110" fmla="*/ 3002843 h 4890220"/>
                  <a:gd name="connsiteX10-1111" fmla="*/ 2698997 w 4301972"/>
                  <a:gd name="connsiteY10-1112" fmla="*/ 3434950 h 4890220"/>
                  <a:gd name="connsiteX11-1113" fmla="*/ 3130320 w 4301972"/>
                  <a:gd name="connsiteY11-1114" fmla="*/ 3565251 h 4890220"/>
                  <a:gd name="connsiteX12-1115" fmla="*/ 3503441 w 4301972"/>
                  <a:gd name="connsiteY12-1116" fmla="*/ 3609830 h 4890220"/>
                  <a:gd name="connsiteX13-1117" fmla="*/ 4301972 w 4301972"/>
                  <a:gd name="connsiteY13-1118" fmla="*/ 4884410 h 4890220"/>
                  <a:gd name="connsiteX14-1119" fmla="*/ 2946320 w 4301972"/>
                  <a:gd name="connsiteY14-1120" fmla="*/ 4890220 h 4890220"/>
                  <a:gd name="connsiteX15-1121" fmla="*/ 2858064 w 4301972"/>
                  <a:gd name="connsiteY15-1122" fmla="*/ 4686873 h 4890220"/>
                  <a:gd name="connsiteX16-1123" fmla="*/ 2144242 w 4301972"/>
                  <a:gd name="connsiteY16-1124" fmla="*/ 3632892 h 4890220"/>
                  <a:gd name="connsiteX17-1125" fmla="*/ 2029140 w 4301972"/>
                  <a:gd name="connsiteY17-1126" fmla="*/ 3564947 h 4890220"/>
                  <a:gd name="connsiteX18-1127" fmla="*/ 1654356 w 4301972"/>
                  <a:gd name="connsiteY18-1128" fmla="*/ 3532295 h 4890220"/>
                  <a:gd name="connsiteX19-1129" fmla="*/ 932863 w 4301972"/>
                  <a:gd name="connsiteY19-1130" fmla="*/ 3059888 h 4890220"/>
                  <a:gd name="connsiteX20-1131" fmla="*/ 1350044 w 4301972"/>
                  <a:gd name="connsiteY20-1132" fmla="*/ 1866553 h 4890220"/>
                  <a:gd name="connsiteX21-1133" fmla="*/ 1105103 w 4301972"/>
                  <a:gd name="connsiteY21-1134" fmla="*/ 1592736 h 4890220"/>
                  <a:gd name="connsiteX22-1135" fmla="*/ 842867 w 4301972"/>
                  <a:gd name="connsiteY22-1136" fmla="*/ 1379809 h 4890220"/>
                  <a:gd name="connsiteX23-1137" fmla="*/ 0 w 4301972"/>
                  <a:gd name="connsiteY23-1138" fmla="*/ 1062960 h 4890220"/>
                  <a:gd name="connsiteX24-1139" fmla="*/ 568838 w 4301972"/>
                  <a:gd name="connsiteY24-1140" fmla="*/ 0 h 4890220"/>
                  <a:gd name="connsiteX0-1141" fmla="*/ 1524669 w 5257803"/>
                  <a:gd name="connsiteY0-1142" fmla="*/ 0 h 4890220"/>
                  <a:gd name="connsiteX1-1143" fmla="*/ 1763833 w 5257803"/>
                  <a:gd name="connsiteY1-1144" fmla="*/ 851425 h 4890220"/>
                  <a:gd name="connsiteX2-1145" fmla="*/ 2081466 w 5257803"/>
                  <a:gd name="connsiteY2-1146" fmla="*/ 1159433 h 4890220"/>
                  <a:gd name="connsiteX3-1147" fmla="*/ 2360599 w 5257803"/>
                  <a:gd name="connsiteY3-1148" fmla="*/ 1765825 h 4890220"/>
                  <a:gd name="connsiteX4-1149" fmla="*/ 2630106 w 5257803"/>
                  <a:gd name="connsiteY4-1150" fmla="*/ 1611821 h 4890220"/>
                  <a:gd name="connsiteX5-1151" fmla="*/ 2642071 w 5257803"/>
                  <a:gd name="connsiteY5-1152" fmla="*/ 1818697 h 4890220"/>
                  <a:gd name="connsiteX6-1153" fmla="*/ 2591271 w 5257803"/>
                  <a:gd name="connsiteY6-1154" fmla="*/ 1949930 h 4890220"/>
                  <a:gd name="connsiteX7-1155" fmla="*/ 2889988 w 5257803"/>
                  <a:gd name="connsiteY7-1156" fmla="*/ 2401092 h 4890220"/>
                  <a:gd name="connsiteX8-1157" fmla="*/ 3077399 w 5257803"/>
                  <a:gd name="connsiteY8-1158" fmla="*/ 2759857 h 4890220"/>
                  <a:gd name="connsiteX9-1159" fmla="*/ 3381993 w 5257803"/>
                  <a:gd name="connsiteY9-1160" fmla="*/ 3002843 h 4890220"/>
                  <a:gd name="connsiteX10-1161" fmla="*/ 3654828 w 5257803"/>
                  <a:gd name="connsiteY10-1162" fmla="*/ 3434950 h 4890220"/>
                  <a:gd name="connsiteX11-1163" fmla="*/ 4086151 w 5257803"/>
                  <a:gd name="connsiteY11-1164" fmla="*/ 3565251 h 4890220"/>
                  <a:gd name="connsiteX12-1165" fmla="*/ 4459272 w 5257803"/>
                  <a:gd name="connsiteY12-1166" fmla="*/ 3609830 h 4890220"/>
                  <a:gd name="connsiteX13-1167" fmla="*/ 5257803 w 5257803"/>
                  <a:gd name="connsiteY13-1168" fmla="*/ 4884410 h 4890220"/>
                  <a:gd name="connsiteX14-1169" fmla="*/ 3902151 w 5257803"/>
                  <a:gd name="connsiteY14-1170" fmla="*/ 4890220 h 4890220"/>
                  <a:gd name="connsiteX15-1171" fmla="*/ 3813895 w 5257803"/>
                  <a:gd name="connsiteY15-1172" fmla="*/ 4686873 h 4890220"/>
                  <a:gd name="connsiteX16-1173" fmla="*/ 3100073 w 5257803"/>
                  <a:gd name="connsiteY16-1174" fmla="*/ 3632892 h 4890220"/>
                  <a:gd name="connsiteX17-1175" fmla="*/ 2984971 w 5257803"/>
                  <a:gd name="connsiteY17-1176" fmla="*/ 3564947 h 4890220"/>
                  <a:gd name="connsiteX18-1177" fmla="*/ 2610187 w 5257803"/>
                  <a:gd name="connsiteY18-1178" fmla="*/ 3532295 h 4890220"/>
                  <a:gd name="connsiteX19-1179" fmla="*/ 0 w 5257803"/>
                  <a:gd name="connsiteY19-1180" fmla="*/ 3108855 h 4890220"/>
                  <a:gd name="connsiteX20-1181" fmla="*/ 2305875 w 5257803"/>
                  <a:gd name="connsiteY20-1182" fmla="*/ 1866553 h 4890220"/>
                  <a:gd name="connsiteX21-1183" fmla="*/ 2060934 w 5257803"/>
                  <a:gd name="connsiteY21-1184" fmla="*/ 1592736 h 4890220"/>
                  <a:gd name="connsiteX22-1185" fmla="*/ 1798698 w 5257803"/>
                  <a:gd name="connsiteY22-1186" fmla="*/ 1379809 h 4890220"/>
                  <a:gd name="connsiteX23-1187" fmla="*/ 955831 w 5257803"/>
                  <a:gd name="connsiteY23-1188" fmla="*/ 1062960 h 4890220"/>
                  <a:gd name="connsiteX24-1189" fmla="*/ 1524669 w 5257803"/>
                  <a:gd name="connsiteY24-1190" fmla="*/ 0 h 4890220"/>
                  <a:gd name="connsiteX0-1191" fmla="*/ 1524669 w 5257803"/>
                  <a:gd name="connsiteY0-1192" fmla="*/ 0 h 4890220"/>
                  <a:gd name="connsiteX1-1193" fmla="*/ 1763833 w 5257803"/>
                  <a:gd name="connsiteY1-1194" fmla="*/ 851425 h 4890220"/>
                  <a:gd name="connsiteX2-1195" fmla="*/ 2081466 w 5257803"/>
                  <a:gd name="connsiteY2-1196" fmla="*/ 1159433 h 4890220"/>
                  <a:gd name="connsiteX3-1197" fmla="*/ 2360599 w 5257803"/>
                  <a:gd name="connsiteY3-1198" fmla="*/ 1765825 h 4890220"/>
                  <a:gd name="connsiteX4-1199" fmla="*/ 2630106 w 5257803"/>
                  <a:gd name="connsiteY4-1200" fmla="*/ 1611821 h 4890220"/>
                  <a:gd name="connsiteX5-1201" fmla="*/ 2642071 w 5257803"/>
                  <a:gd name="connsiteY5-1202" fmla="*/ 1818697 h 4890220"/>
                  <a:gd name="connsiteX6-1203" fmla="*/ 2591271 w 5257803"/>
                  <a:gd name="connsiteY6-1204" fmla="*/ 1949930 h 4890220"/>
                  <a:gd name="connsiteX7-1205" fmla="*/ 2889988 w 5257803"/>
                  <a:gd name="connsiteY7-1206" fmla="*/ 2401092 h 4890220"/>
                  <a:gd name="connsiteX8-1207" fmla="*/ 3077399 w 5257803"/>
                  <a:gd name="connsiteY8-1208" fmla="*/ 2759857 h 4890220"/>
                  <a:gd name="connsiteX9-1209" fmla="*/ 3381993 w 5257803"/>
                  <a:gd name="connsiteY9-1210" fmla="*/ 3002843 h 4890220"/>
                  <a:gd name="connsiteX10-1211" fmla="*/ 3654828 w 5257803"/>
                  <a:gd name="connsiteY10-1212" fmla="*/ 3434950 h 4890220"/>
                  <a:gd name="connsiteX11-1213" fmla="*/ 4086151 w 5257803"/>
                  <a:gd name="connsiteY11-1214" fmla="*/ 3565251 h 4890220"/>
                  <a:gd name="connsiteX12-1215" fmla="*/ 4459272 w 5257803"/>
                  <a:gd name="connsiteY12-1216" fmla="*/ 3609830 h 4890220"/>
                  <a:gd name="connsiteX13-1217" fmla="*/ 5257803 w 5257803"/>
                  <a:gd name="connsiteY13-1218" fmla="*/ 4884410 h 4890220"/>
                  <a:gd name="connsiteX14-1219" fmla="*/ 3902151 w 5257803"/>
                  <a:gd name="connsiteY14-1220" fmla="*/ 4890220 h 4890220"/>
                  <a:gd name="connsiteX15-1221" fmla="*/ 3813895 w 5257803"/>
                  <a:gd name="connsiteY15-1222" fmla="*/ 4686873 h 4890220"/>
                  <a:gd name="connsiteX16-1223" fmla="*/ 3100073 w 5257803"/>
                  <a:gd name="connsiteY16-1224" fmla="*/ 3632892 h 4890220"/>
                  <a:gd name="connsiteX17-1225" fmla="*/ 2984971 w 5257803"/>
                  <a:gd name="connsiteY17-1226" fmla="*/ 3564947 h 4890220"/>
                  <a:gd name="connsiteX18-1227" fmla="*/ 1211155 w 5257803"/>
                  <a:gd name="connsiteY18-1228" fmla="*/ 3595252 h 4890220"/>
                  <a:gd name="connsiteX19-1229" fmla="*/ 0 w 5257803"/>
                  <a:gd name="connsiteY19-1230" fmla="*/ 3108855 h 4890220"/>
                  <a:gd name="connsiteX20-1231" fmla="*/ 2305875 w 5257803"/>
                  <a:gd name="connsiteY20-1232" fmla="*/ 1866553 h 4890220"/>
                  <a:gd name="connsiteX21-1233" fmla="*/ 2060934 w 5257803"/>
                  <a:gd name="connsiteY21-1234" fmla="*/ 1592736 h 4890220"/>
                  <a:gd name="connsiteX22-1235" fmla="*/ 1798698 w 5257803"/>
                  <a:gd name="connsiteY22-1236" fmla="*/ 1379809 h 4890220"/>
                  <a:gd name="connsiteX23-1237" fmla="*/ 955831 w 5257803"/>
                  <a:gd name="connsiteY23-1238" fmla="*/ 1062960 h 4890220"/>
                  <a:gd name="connsiteX24-1239" fmla="*/ 1524669 w 5257803"/>
                  <a:gd name="connsiteY24-1240" fmla="*/ 0 h 4890220"/>
                  <a:gd name="connsiteX0-1241" fmla="*/ 1524669 w 5257803"/>
                  <a:gd name="connsiteY0-1242" fmla="*/ 0 h 4890220"/>
                  <a:gd name="connsiteX1-1243" fmla="*/ 1763833 w 5257803"/>
                  <a:gd name="connsiteY1-1244" fmla="*/ 851425 h 4890220"/>
                  <a:gd name="connsiteX2-1245" fmla="*/ 2081466 w 5257803"/>
                  <a:gd name="connsiteY2-1246" fmla="*/ 1159433 h 4890220"/>
                  <a:gd name="connsiteX3-1247" fmla="*/ 2360599 w 5257803"/>
                  <a:gd name="connsiteY3-1248" fmla="*/ 1765825 h 4890220"/>
                  <a:gd name="connsiteX4-1249" fmla="*/ 2630106 w 5257803"/>
                  <a:gd name="connsiteY4-1250" fmla="*/ 1611821 h 4890220"/>
                  <a:gd name="connsiteX5-1251" fmla="*/ 2642071 w 5257803"/>
                  <a:gd name="connsiteY5-1252" fmla="*/ 1818697 h 4890220"/>
                  <a:gd name="connsiteX6-1253" fmla="*/ 2591271 w 5257803"/>
                  <a:gd name="connsiteY6-1254" fmla="*/ 1949930 h 4890220"/>
                  <a:gd name="connsiteX7-1255" fmla="*/ 2889988 w 5257803"/>
                  <a:gd name="connsiteY7-1256" fmla="*/ 2401092 h 4890220"/>
                  <a:gd name="connsiteX8-1257" fmla="*/ 3077399 w 5257803"/>
                  <a:gd name="connsiteY8-1258" fmla="*/ 2759857 h 4890220"/>
                  <a:gd name="connsiteX9-1259" fmla="*/ 3381993 w 5257803"/>
                  <a:gd name="connsiteY9-1260" fmla="*/ 3002843 h 4890220"/>
                  <a:gd name="connsiteX10-1261" fmla="*/ 3654828 w 5257803"/>
                  <a:gd name="connsiteY10-1262" fmla="*/ 3434950 h 4890220"/>
                  <a:gd name="connsiteX11-1263" fmla="*/ 4086151 w 5257803"/>
                  <a:gd name="connsiteY11-1264" fmla="*/ 3565251 h 4890220"/>
                  <a:gd name="connsiteX12-1265" fmla="*/ 4459272 w 5257803"/>
                  <a:gd name="connsiteY12-1266" fmla="*/ 3609830 h 4890220"/>
                  <a:gd name="connsiteX13-1267" fmla="*/ 5257803 w 5257803"/>
                  <a:gd name="connsiteY13-1268" fmla="*/ 4884410 h 4890220"/>
                  <a:gd name="connsiteX14-1269" fmla="*/ 3902151 w 5257803"/>
                  <a:gd name="connsiteY14-1270" fmla="*/ 4890220 h 4890220"/>
                  <a:gd name="connsiteX15-1271" fmla="*/ 3813895 w 5257803"/>
                  <a:gd name="connsiteY15-1272" fmla="*/ 4686873 h 4890220"/>
                  <a:gd name="connsiteX16-1273" fmla="*/ 3100073 w 5257803"/>
                  <a:gd name="connsiteY16-1274" fmla="*/ 3632892 h 4890220"/>
                  <a:gd name="connsiteX17-1275" fmla="*/ 2656198 w 5257803"/>
                  <a:gd name="connsiteY17-1276" fmla="*/ 3949681 h 4890220"/>
                  <a:gd name="connsiteX18-1277" fmla="*/ 1211155 w 5257803"/>
                  <a:gd name="connsiteY18-1278" fmla="*/ 3595252 h 4890220"/>
                  <a:gd name="connsiteX19-1279" fmla="*/ 0 w 5257803"/>
                  <a:gd name="connsiteY19-1280" fmla="*/ 3108855 h 4890220"/>
                  <a:gd name="connsiteX20-1281" fmla="*/ 2305875 w 5257803"/>
                  <a:gd name="connsiteY20-1282" fmla="*/ 1866553 h 4890220"/>
                  <a:gd name="connsiteX21-1283" fmla="*/ 2060934 w 5257803"/>
                  <a:gd name="connsiteY21-1284" fmla="*/ 1592736 h 4890220"/>
                  <a:gd name="connsiteX22-1285" fmla="*/ 1798698 w 5257803"/>
                  <a:gd name="connsiteY22-1286" fmla="*/ 1379809 h 4890220"/>
                  <a:gd name="connsiteX23-1287" fmla="*/ 955831 w 5257803"/>
                  <a:gd name="connsiteY23-1288" fmla="*/ 1062960 h 4890220"/>
                  <a:gd name="connsiteX24-1289" fmla="*/ 1524669 w 5257803"/>
                  <a:gd name="connsiteY24-1290" fmla="*/ 0 h 4890220"/>
                  <a:gd name="connsiteX0-1291" fmla="*/ 1524669 w 5257803"/>
                  <a:gd name="connsiteY0-1292" fmla="*/ 0 h 4890220"/>
                  <a:gd name="connsiteX1-1293" fmla="*/ 1763833 w 5257803"/>
                  <a:gd name="connsiteY1-1294" fmla="*/ 851425 h 4890220"/>
                  <a:gd name="connsiteX2-1295" fmla="*/ 2081466 w 5257803"/>
                  <a:gd name="connsiteY2-1296" fmla="*/ 1159433 h 4890220"/>
                  <a:gd name="connsiteX3-1297" fmla="*/ 2360599 w 5257803"/>
                  <a:gd name="connsiteY3-1298" fmla="*/ 1765825 h 4890220"/>
                  <a:gd name="connsiteX4-1299" fmla="*/ 2630106 w 5257803"/>
                  <a:gd name="connsiteY4-1300" fmla="*/ 1611821 h 4890220"/>
                  <a:gd name="connsiteX5-1301" fmla="*/ 2642071 w 5257803"/>
                  <a:gd name="connsiteY5-1302" fmla="*/ 1818697 h 4890220"/>
                  <a:gd name="connsiteX6-1303" fmla="*/ 2591271 w 5257803"/>
                  <a:gd name="connsiteY6-1304" fmla="*/ 1949930 h 4890220"/>
                  <a:gd name="connsiteX7-1305" fmla="*/ 2889988 w 5257803"/>
                  <a:gd name="connsiteY7-1306" fmla="*/ 2401092 h 4890220"/>
                  <a:gd name="connsiteX8-1307" fmla="*/ 3077399 w 5257803"/>
                  <a:gd name="connsiteY8-1308" fmla="*/ 2759857 h 4890220"/>
                  <a:gd name="connsiteX9-1309" fmla="*/ 3381993 w 5257803"/>
                  <a:gd name="connsiteY9-1310" fmla="*/ 3002843 h 4890220"/>
                  <a:gd name="connsiteX10-1311" fmla="*/ 3654828 w 5257803"/>
                  <a:gd name="connsiteY10-1312" fmla="*/ 3434950 h 4890220"/>
                  <a:gd name="connsiteX11-1313" fmla="*/ 4086151 w 5257803"/>
                  <a:gd name="connsiteY11-1314" fmla="*/ 3565251 h 4890220"/>
                  <a:gd name="connsiteX12-1315" fmla="*/ 4459272 w 5257803"/>
                  <a:gd name="connsiteY12-1316" fmla="*/ 3609830 h 4890220"/>
                  <a:gd name="connsiteX13-1317" fmla="*/ 5257803 w 5257803"/>
                  <a:gd name="connsiteY13-1318" fmla="*/ 4884410 h 4890220"/>
                  <a:gd name="connsiteX14-1319" fmla="*/ 3902151 w 5257803"/>
                  <a:gd name="connsiteY14-1320" fmla="*/ 4890220 h 4890220"/>
                  <a:gd name="connsiteX15-1321" fmla="*/ 3813895 w 5257803"/>
                  <a:gd name="connsiteY15-1322" fmla="*/ 4686873 h 4890220"/>
                  <a:gd name="connsiteX16-1323" fmla="*/ 3477811 w 5257803"/>
                  <a:gd name="connsiteY16-1324" fmla="*/ 4178514 h 4890220"/>
                  <a:gd name="connsiteX17-1325" fmla="*/ 2656198 w 5257803"/>
                  <a:gd name="connsiteY17-1326" fmla="*/ 3949681 h 4890220"/>
                  <a:gd name="connsiteX18-1327" fmla="*/ 1211155 w 5257803"/>
                  <a:gd name="connsiteY18-1328" fmla="*/ 3595252 h 4890220"/>
                  <a:gd name="connsiteX19-1329" fmla="*/ 0 w 5257803"/>
                  <a:gd name="connsiteY19-1330" fmla="*/ 3108855 h 4890220"/>
                  <a:gd name="connsiteX20-1331" fmla="*/ 2305875 w 5257803"/>
                  <a:gd name="connsiteY20-1332" fmla="*/ 1866553 h 4890220"/>
                  <a:gd name="connsiteX21-1333" fmla="*/ 2060934 w 5257803"/>
                  <a:gd name="connsiteY21-1334" fmla="*/ 1592736 h 4890220"/>
                  <a:gd name="connsiteX22-1335" fmla="*/ 1798698 w 5257803"/>
                  <a:gd name="connsiteY22-1336" fmla="*/ 1379809 h 4890220"/>
                  <a:gd name="connsiteX23-1337" fmla="*/ 955831 w 5257803"/>
                  <a:gd name="connsiteY23-1338" fmla="*/ 1062960 h 4890220"/>
                  <a:gd name="connsiteX24-1339" fmla="*/ 1524669 w 5257803"/>
                  <a:gd name="connsiteY24-1340" fmla="*/ 0 h 4890220"/>
                  <a:gd name="connsiteX0-1341" fmla="*/ 1125945 w 4859079"/>
                  <a:gd name="connsiteY0-1342" fmla="*/ 0 h 4890220"/>
                  <a:gd name="connsiteX1-1343" fmla="*/ 1365109 w 4859079"/>
                  <a:gd name="connsiteY1-1344" fmla="*/ 851425 h 4890220"/>
                  <a:gd name="connsiteX2-1345" fmla="*/ 1682742 w 4859079"/>
                  <a:gd name="connsiteY2-1346" fmla="*/ 1159433 h 4890220"/>
                  <a:gd name="connsiteX3-1347" fmla="*/ 1961875 w 4859079"/>
                  <a:gd name="connsiteY3-1348" fmla="*/ 1765825 h 4890220"/>
                  <a:gd name="connsiteX4-1349" fmla="*/ 2231382 w 4859079"/>
                  <a:gd name="connsiteY4-1350" fmla="*/ 1611821 h 4890220"/>
                  <a:gd name="connsiteX5-1351" fmla="*/ 2243347 w 4859079"/>
                  <a:gd name="connsiteY5-1352" fmla="*/ 1818697 h 4890220"/>
                  <a:gd name="connsiteX6-1353" fmla="*/ 2192547 w 4859079"/>
                  <a:gd name="connsiteY6-1354" fmla="*/ 1949930 h 4890220"/>
                  <a:gd name="connsiteX7-1355" fmla="*/ 2491264 w 4859079"/>
                  <a:gd name="connsiteY7-1356" fmla="*/ 2401092 h 4890220"/>
                  <a:gd name="connsiteX8-1357" fmla="*/ 2678675 w 4859079"/>
                  <a:gd name="connsiteY8-1358" fmla="*/ 2759857 h 4890220"/>
                  <a:gd name="connsiteX9-1359" fmla="*/ 2983269 w 4859079"/>
                  <a:gd name="connsiteY9-1360" fmla="*/ 3002843 h 4890220"/>
                  <a:gd name="connsiteX10-1361" fmla="*/ 3256104 w 4859079"/>
                  <a:gd name="connsiteY10-1362" fmla="*/ 3434950 h 4890220"/>
                  <a:gd name="connsiteX11-1363" fmla="*/ 3687427 w 4859079"/>
                  <a:gd name="connsiteY11-1364" fmla="*/ 3565251 h 4890220"/>
                  <a:gd name="connsiteX12-1365" fmla="*/ 4060548 w 4859079"/>
                  <a:gd name="connsiteY12-1366" fmla="*/ 3609830 h 4890220"/>
                  <a:gd name="connsiteX13-1367" fmla="*/ 4859079 w 4859079"/>
                  <a:gd name="connsiteY13-1368" fmla="*/ 4884410 h 4890220"/>
                  <a:gd name="connsiteX14-1369" fmla="*/ 3503427 w 4859079"/>
                  <a:gd name="connsiteY14-1370" fmla="*/ 4890220 h 4890220"/>
                  <a:gd name="connsiteX15-1371" fmla="*/ 3415171 w 4859079"/>
                  <a:gd name="connsiteY15-1372" fmla="*/ 4686873 h 4890220"/>
                  <a:gd name="connsiteX16-1373" fmla="*/ 3079087 w 4859079"/>
                  <a:gd name="connsiteY16-1374" fmla="*/ 4178514 h 4890220"/>
                  <a:gd name="connsiteX17-1375" fmla="*/ 2257474 w 4859079"/>
                  <a:gd name="connsiteY17-1376" fmla="*/ 3949681 h 4890220"/>
                  <a:gd name="connsiteX18-1377" fmla="*/ 812431 w 4859079"/>
                  <a:gd name="connsiteY18-1378" fmla="*/ 3595252 h 4890220"/>
                  <a:gd name="connsiteX19-1379" fmla="*/ 0 w 4859079"/>
                  <a:gd name="connsiteY19-1380" fmla="*/ 3150826 h 4890220"/>
                  <a:gd name="connsiteX20-1381" fmla="*/ 1907151 w 4859079"/>
                  <a:gd name="connsiteY20-1382" fmla="*/ 1866553 h 4890220"/>
                  <a:gd name="connsiteX21-1383" fmla="*/ 1662210 w 4859079"/>
                  <a:gd name="connsiteY21-1384" fmla="*/ 1592736 h 4890220"/>
                  <a:gd name="connsiteX22-1385" fmla="*/ 1399974 w 4859079"/>
                  <a:gd name="connsiteY22-1386" fmla="*/ 1379809 h 4890220"/>
                  <a:gd name="connsiteX23-1387" fmla="*/ 557107 w 4859079"/>
                  <a:gd name="connsiteY23-1388" fmla="*/ 1062960 h 4890220"/>
                  <a:gd name="connsiteX24-1389" fmla="*/ 1125945 w 4859079"/>
                  <a:gd name="connsiteY24-1390" fmla="*/ 0 h 4890220"/>
                  <a:gd name="connsiteX0-1391" fmla="*/ 1125945 w 4859079"/>
                  <a:gd name="connsiteY0-1392" fmla="*/ 0 h 4890220"/>
                  <a:gd name="connsiteX1-1393" fmla="*/ 1365109 w 4859079"/>
                  <a:gd name="connsiteY1-1394" fmla="*/ 851425 h 4890220"/>
                  <a:gd name="connsiteX2-1395" fmla="*/ 1682742 w 4859079"/>
                  <a:gd name="connsiteY2-1396" fmla="*/ 1159433 h 4890220"/>
                  <a:gd name="connsiteX3-1397" fmla="*/ 1961875 w 4859079"/>
                  <a:gd name="connsiteY3-1398" fmla="*/ 1765825 h 4890220"/>
                  <a:gd name="connsiteX4-1399" fmla="*/ 2231382 w 4859079"/>
                  <a:gd name="connsiteY4-1400" fmla="*/ 1611821 h 4890220"/>
                  <a:gd name="connsiteX5-1401" fmla="*/ 2243347 w 4859079"/>
                  <a:gd name="connsiteY5-1402" fmla="*/ 1818697 h 4890220"/>
                  <a:gd name="connsiteX6-1403" fmla="*/ 2192547 w 4859079"/>
                  <a:gd name="connsiteY6-1404" fmla="*/ 1949930 h 4890220"/>
                  <a:gd name="connsiteX7-1405" fmla="*/ 2491264 w 4859079"/>
                  <a:gd name="connsiteY7-1406" fmla="*/ 2401092 h 4890220"/>
                  <a:gd name="connsiteX8-1407" fmla="*/ 2678675 w 4859079"/>
                  <a:gd name="connsiteY8-1408" fmla="*/ 2759857 h 4890220"/>
                  <a:gd name="connsiteX9-1409" fmla="*/ 2983269 w 4859079"/>
                  <a:gd name="connsiteY9-1410" fmla="*/ 3002843 h 4890220"/>
                  <a:gd name="connsiteX10-1411" fmla="*/ 3256104 w 4859079"/>
                  <a:gd name="connsiteY10-1412" fmla="*/ 3434950 h 4890220"/>
                  <a:gd name="connsiteX11-1413" fmla="*/ 3687427 w 4859079"/>
                  <a:gd name="connsiteY11-1414" fmla="*/ 3565251 h 4890220"/>
                  <a:gd name="connsiteX12-1415" fmla="*/ 4060548 w 4859079"/>
                  <a:gd name="connsiteY12-1416" fmla="*/ 3609830 h 4890220"/>
                  <a:gd name="connsiteX13-1417" fmla="*/ 4859079 w 4859079"/>
                  <a:gd name="connsiteY13-1418" fmla="*/ 4884410 h 4890220"/>
                  <a:gd name="connsiteX14-1419" fmla="*/ 3503427 w 4859079"/>
                  <a:gd name="connsiteY14-1420" fmla="*/ 4890220 h 4890220"/>
                  <a:gd name="connsiteX15-1421" fmla="*/ 3415171 w 4859079"/>
                  <a:gd name="connsiteY15-1422" fmla="*/ 4686873 h 4890220"/>
                  <a:gd name="connsiteX16-1423" fmla="*/ 3079087 w 4859079"/>
                  <a:gd name="connsiteY16-1424" fmla="*/ 4178514 h 4890220"/>
                  <a:gd name="connsiteX17-1425" fmla="*/ 2257474 w 4859079"/>
                  <a:gd name="connsiteY17-1426" fmla="*/ 3949681 h 4890220"/>
                  <a:gd name="connsiteX18-1427" fmla="*/ 812431 w 4859079"/>
                  <a:gd name="connsiteY18-1428" fmla="*/ 3595252 h 4890220"/>
                  <a:gd name="connsiteX19-1429" fmla="*/ 0 w 4859079"/>
                  <a:gd name="connsiteY19-1430" fmla="*/ 3150826 h 4890220"/>
                  <a:gd name="connsiteX20-1431" fmla="*/ 947700 w 4859079"/>
                  <a:gd name="connsiteY20-1432" fmla="*/ 2371686 h 4890220"/>
                  <a:gd name="connsiteX21-1433" fmla="*/ 1907151 w 4859079"/>
                  <a:gd name="connsiteY21-1434" fmla="*/ 1866553 h 4890220"/>
                  <a:gd name="connsiteX22-1435" fmla="*/ 1662210 w 4859079"/>
                  <a:gd name="connsiteY22-1436" fmla="*/ 1592736 h 4890220"/>
                  <a:gd name="connsiteX23-1437" fmla="*/ 1399974 w 4859079"/>
                  <a:gd name="connsiteY23-1438" fmla="*/ 1379809 h 4890220"/>
                  <a:gd name="connsiteX24-1439" fmla="*/ 557107 w 4859079"/>
                  <a:gd name="connsiteY24-1440" fmla="*/ 1062960 h 4890220"/>
                  <a:gd name="connsiteX25" fmla="*/ 1125945 w 4859079"/>
                  <a:gd name="connsiteY25" fmla="*/ 0 h 4890220"/>
                  <a:gd name="connsiteX0-1441" fmla="*/ 1125945 w 4859079"/>
                  <a:gd name="connsiteY0-1442" fmla="*/ 0 h 4890220"/>
                  <a:gd name="connsiteX1-1443" fmla="*/ 1365109 w 4859079"/>
                  <a:gd name="connsiteY1-1444" fmla="*/ 851425 h 4890220"/>
                  <a:gd name="connsiteX2-1445" fmla="*/ 1682742 w 4859079"/>
                  <a:gd name="connsiteY2-1446" fmla="*/ 1159433 h 4890220"/>
                  <a:gd name="connsiteX3-1447" fmla="*/ 1961875 w 4859079"/>
                  <a:gd name="connsiteY3-1448" fmla="*/ 1765825 h 4890220"/>
                  <a:gd name="connsiteX4-1449" fmla="*/ 2231382 w 4859079"/>
                  <a:gd name="connsiteY4-1450" fmla="*/ 1611821 h 4890220"/>
                  <a:gd name="connsiteX5-1451" fmla="*/ 2243347 w 4859079"/>
                  <a:gd name="connsiteY5-1452" fmla="*/ 1818697 h 4890220"/>
                  <a:gd name="connsiteX6-1453" fmla="*/ 2192547 w 4859079"/>
                  <a:gd name="connsiteY6-1454" fmla="*/ 1949930 h 4890220"/>
                  <a:gd name="connsiteX7-1455" fmla="*/ 2491264 w 4859079"/>
                  <a:gd name="connsiteY7-1456" fmla="*/ 2401092 h 4890220"/>
                  <a:gd name="connsiteX8-1457" fmla="*/ 2678675 w 4859079"/>
                  <a:gd name="connsiteY8-1458" fmla="*/ 2759857 h 4890220"/>
                  <a:gd name="connsiteX9-1459" fmla="*/ 2983269 w 4859079"/>
                  <a:gd name="connsiteY9-1460" fmla="*/ 3002843 h 4890220"/>
                  <a:gd name="connsiteX10-1461" fmla="*/ 3256104 w 4859079"/>
                  <a:gd name="connsiteY10-1462" fmla="*/ 3434950 h 4890220"/>
                  <a:gd name="connsiteX11-1463" fmla="*/ 3687427 w 4859079"/>
                  <a:gd name="connsiteY11-1464" fmla="*/ 3565251 h 4890220"/>
                  <a:gd name="connsiteX12-1465" fmla="*/ 4060548 w 4859079"/>
                  <a:gd name="connsiteY12-1466" fmla="*/ 3609830 h 4890220"/>
                  <a:gd name="connsiteX13-1467" fmla="*/ 4859079 w 4859079"/>
                  <a:gd name="connsiteY13-1468" fmla="*/ 4884410 h 4890220"/>
                  <a:gd name="connsiteX14-1469" fmla="*/ 3503427 w 4859079"/>
                  <a:gd name="connsiteY14-1470" fmla="*/ 4890220 h 4890220"/>
                  <a:gd name="connsiteX15-1471" fmla="*/ 3415171 w 4859079"/>
                  <a:gd name="connsiteY15-1472" fmla="*/ 4686873 h 4890220"/>
                  <a:gd name="connsiteX16-1473" fmla="*/ 3016131 w 4859079"/>
                  <a:gd name="connsiteY16-1474" fmla="*/ 4213490 h 4890220"/>
                  <a:gd name="connsiteX17-1475" fmla="*/ 2257474 w 4859079"/>
                  <a:gd name="connsiteY17-1476" fmla="*/ 3949681 h 4890220"/>
                  <a:gd name="connsiteX18-1477" fmla="*/ 812431 w 4859079"/>
                  <a:gd name="connsiteY18-1478" fmla="*/ 3595252 h 4890220"/>
                  <a:gd name="connsiteX19-1479" fmla="*/ 0 w 4859079"/>
                  <a:gd name="connsiteY19-1480" fmla="*/ 3150826 h 4890220"/>
                  <a:gd name="connsiteX20-1481" fmla="*/ 947700 w 4859079"/>
                  <a:gd name="connsiteY20-1482" fmla="*/ 2371686 h 4890220"/>
                  <a:gd name="connsiteX21-1483" fmla="*/ 1907151 w 4859079"/>
                  <a:gd name="connsiteY21-1484" fmla="*/ 1866553 h 4890220"/>
                  <a:gd name="connsiteX22-1485" fmla="*/ 1662210 w 4859079"/>
                  <a:gd name="connsiteY22-1486" fmla="*/ 1592736 h 4890220"/>
                  <a:gd name="connsiteX23-1487" fmla="*/ 1399974 w 4859079"/>
                  <a:gd name="connsiteY23-1488" fmla="*/ 1379809 h 4890220"/>
                  <a:gd name="connsiteX24-1489" fmla="*/ 557107 w 4859079"/>
                  <a:gd name="connsiteY24-1490" fmla="*/ 1062960 h 4890220"/>
                  <a:gd name="connsiteX25-1491" fmla="*/ 1125945 w 4859079"/>
                  <a:gd name="connsiteY25-1492" fmla="*/ 0 h 4890220"/>
                  <a:gd name="connsiteX0-1493" fmla="*/ 951066 w 4684200"/>
                  <a:gd name="connsiteY0-1494" fmla="*/ 0 h 4890220"/>
                  <a:gd name="connsiteX1-1495" fmla="*/ 1190230 w 4684200"/>
                  <a:gd name="connsiteY1-1496" fmla="*/ 851425 h 4890220"/>
                  <a:gd name="connsiteX2-1497" fmla="*/ 1507863 w 4684200"/>
                  <a:gd name="connsiteY2-1498" fmla="*/ 1159433 h 4890220"/>
                  <a:gd name="connsiteX3-1499" fmla="*/ 1786996 w 4684200"/>
                  <a:gd name="connsiteY3-1500" fmla="*/ 1765825 h 4890220"/>
                  <a:gd name="connsiteX4-1501" fmla="*/ 2056503 w 4684200"/>
                  <a:gd name="connsiteY4-1502" fmla="*/ 1611821 h 4890220"/>
                  <a:gd name="connsiteX5-1503" fmla="*/ 2068468 w 4684200"/>
                  <a:gd name="connsiteY5-1504" fmla="*/ 1818697 h 4890220"/>
                  <a:gd name="connsiteX6-1505" fmla="*/ 2017668 w 4684200"/>
                  <a:gd name="connsiteY6-1506" fmla="*/ 1949930 h 4890220"/>
                  <a:gd name="connsiteX7-1507" fmla="*/ 2316385 w 4684200"/>
                  <a:gd name="connsiteY7-1508" fmla="*/ 2401092 h 4890220"/>
                  <a:gd name="connsiteX8-1509" fmla="*/ 2503796 w 4684200"/>
                  <a:gd name="connsiteY8-1510" fmla="*/ 2759857 h 4890220"/>
                  <a:gd name="connsiteX9-1511" fmla="*/ 2808390 w 4684200"/>
                  <a:gd name="connsiteY9-1512" fmla="*/ 3002843 h 4890220"/>
                  <a:gd name="connsiteX10-1513" fmla="*/ 3081225 w 4684200"/>
                  <a:gd name="connsiteY10-1514" fmla="*/ 3434950 h 4890220"/>
                  <a:gd name="connsiteX11-1515" fmla="*/ 3512548 w 4684200"/>
                  <a:gd name="connsiteY11-1516" fmla="*/ 3565251 h 4890220"/>
                  <a:gd name="connsiteX12-1517" fmla="*/ 3885669 w 4684200"/>
                  <a:gd name="connsiteY12-1518" fmla="*/ 3609830 h 4890220"/>
                  <a:gd name="connsiteX13-1519" fmla="*/ 4684200 w 4684200"/>
                  <a:gd name="connsiteY13-1520" fmla="*/ 4884410 h 4890220"/>
                  <a:gd name="connsiteX14-1521" fmla="*/ 3328548 w 4684200"/>
                  <a:gd name="connsiteY14-1522" fmla="*/ 4890220 h 4890220"/>
                  <a:gd name="connsiteX15-1523" fmla="*/ 3240292 w 4684200"/>
                  <a:gd name="connsiteY15-1524" fmla="*/ 4686873 h 4890220"/>
                  <a:gd name="connsiteX16-1525" fmla="*/ 2841252 w 4684200"/>
                  <a:gd name="connsiteY16-1526" fmla="*/ 4213490 h 4890220"/>
                  <a:gd name="connsiteX17-1527" fmla="*/ 2082595 w 4684200"/>
                  <a:gd name="connsiteY17-1528" fmla="*/ 3949681 h 4890220"/>
                  <a:gd name="connsiteX18-1529" fmla="*/ 637552 w 4684200"/>
                  <a:gd name="connsiteY18-1530" fmla="*/ 3595252 h 4890220"/>
                  <a:gd name="connsiteX19-1531" fmla="*/ 0 w 4684200"/>
                  <a:gd name="connsiteY19-1532" fmla="*/ 3171811 h 4890220"/>
                  <a:gd name="connsiteX20-1533" fmla="*/ 772821 w 4684200"/>
                  <a:gd name="connsiteY20-1534" fmla="*/ 2371686 h 4890220"/>
                  <a:gd name="connsiteX21-1535" fmla="*/ 1732272 w 4684200"/>
                  <a:gd name="connsiteY21-1536" fmla="*/ 1866553 h 4890220"/>
                  <a:gd name="connsiteX22-1537" fmla="*/ 1487331 w 4684200"/>
                  <a:gd name="connsiteY22-1538" fmla="*/ 1592736 h 4890220"/>
                  <a:gd name="connsiteX23-1539" fmla="*/ 1225095 w 4684200"/>
                  <a:gd name="connsiteY23-1540" fmla="*/ 1379809 h 4890220"/>
                  <a:gd name="connsiteX24-1541" fmla="*/ 382228 w 4684200"/>
                  <a:gd name="connsiteY24-1542" fmla="*/ 1062960 h 4890220"/>
                  <a:gd name="connsiteX25-1543" fmla="*/ 951066 w 4684200"/>
                  <a:gd name="connsiteY25-1544" fmla="*/ 0 h 4890220"/>
                  <a:gd name="connsiteX0-1545" fmla="*/ 951066 w 4684200"/>
                  <a:gd name="connsiteY0-1546" fmla="*/ 0 h 4890220"/>
                  <a:gd name="connsiteX1-1547" fmla="*/ 1190230 w 4684200"/>
                  <a:gd name="connsiteY1-1548" fmla="*/ 851425 h 4890220"/>
                  <a:gd name="connsiteX2-1549" fmla="*/ 1507863 w 4684200"/>
                  <a:gd name="connsiteY2-1550" fmla="*/ 1159433 h 4890220"/>
                  <a:gd name="connsiteX3-1551" fmla="*/ 1786996 w 4684200"/>
                  <a:gd name="connsiteY3-1552" fmla="*/ 1765825 h 4890220"/>
                  <a:gd name="connsiteX4-1553" fmla="*/ 2056503 w 4684200"/>
                  <a:gd name="connsiteY4-1554" fmla="*/ 1611821 h 4890220"/>
                  <a:gd name="connsiteX5-1555" fmla="*/ 2068468 w 4684200"/>
                  <a:gd name="connsiteY5-1556" fmla="*/ 1818697 h 4890220"/>
                  <a:gd name="connsiteX6-1557" fmla="*/ 2017668 w 4684200"/>
                  <a:gd name="connsiteY6-1558" fmla="*/ 1949930 h 4890220"/>
                  <a:gd name="connsiteX7-1559" fmla="*/ 2316385 w 4684200"/>
                  <a:gd name="connsiteY7-1560" fmla="*/ 2401092 h 4890220"/>
                  <a:gd name="connsiteX8-1561" fmla="*/ 2503796 w 4684200"/>
                  <a:gd name="connsiteY8-1562" fmla="*/ 2759857 h 4890220"/>
                  <a:gd name="connsiteX9-1563" fmla="*/ 2808390 w 4684200"/>
                  <a:gd name="connsiteY9-1564" fmla="*/ 3002843 h 4890220"/>
                  <a:gd name="connsiteX10-1565" fmla="*/ 3081225 w 4684200"/>
                  <a:gd name="connsiteY10-1566" fmla="*/ 3434950 h 4890220"/>
                  <a:gd name="connsiteX11-1567" fmla="*/ 3512548 w 4684200"/>
                  <a:gd name="connsiteY11-1568" fmla="*/ 3565251 h 4890220"/>
                  <a:gd name="connsiteX12-1569" fmla="*/ 3885669 w 4684200"/>
                  <a:gd name="connsiteY12-1570" fmla="*/ 3609830 h 4890220"/>
                  <a:gd name="connsiteX13-1571" fmla="*/ 4684200 w 4684200"/>
                  <a:gd name="connsiteY13-1572" fmla="*/ 4884410 h 4890220"/>
                  <a:gd name="connsiteX14-1573" fmla="*/ 3328548 w 4684200"/>
                  <a:gd name="connsiteY14-1574" fmla="*/ 4890220 h 4890220"/>
                  <a:gd name="connsiteX15-1575" fmla="*/ 3240292 w 4684200"/>
                  <a:gd name="connsiteY15-1576" fmla="*/ 4686873 h 4890220"/>
                  <a:gd name="connsiteX16-1577" fmla="*/ 2841252 w 4684200"/>
                  <a:gd name="connsiteY16-1578" fmla="*/ 4213490 h 4890220"/>
                  <a:gd name="connsiteX17-1579" fmla="*/ 2082595 w 4684200"/>
                  <a:gd name="connsiteY17-1580" fmla="*/ 3949681 h 4890220"/>
                  <a:gd name="connsiteX18-1581" fmla="*/ 637552 w 4684200"/>
                  <a:gd name="connsiteY18-1582" fmla="*/ 3595252 h 4890220"/>
                  <a:gd name="connsiteX19-1583" fmla="*/ 0 w 4684200"/>
                  <a:gd name="connsiteY19-1584" fmla="*/ 3171811 h 4890220"/>
                  <a:gd name="connsiteX20-1585" fmla="*/ 772821 w 4684200"/>
                  <a:gd name="connsiteY20-1586" fmla="*/ 2371686 h 4890220"/>
                  <a:gd name="connsiteX21-1587" fmla="*/ 1415158 w 4684200"/>
                  <a:gd name="connsiteY21-1588" fmla="*/ 1857227 h 4890220"/>
                  <a:gd name="connsiteX22-1589" fmla="*/ 1487331 w 4684200"/>
                  <a:gd name="connsiteY22-1590" fmla="*/ 1592736 h 4890220"/>
                  <a:gd name="connsiteX23-1591" fmla="*/ 1225095 w 4684200"/>
                  <a:gd name="connsiteY23-1592" fmla="*/ 1379809 h 4890220"/>
                  <a:gd name="connsiteX24-1593" fmla="*/ 382228 w 4684200"/>
                  <a:gd name="connsiteY24-1594" fmla="*/ 1062960 h 4890220"/>
                  <a:gd name="connsiteX25-1595" fmla="*/ 951066 w 4684200"/>
                  <a:gd name="connsiteY25-1596" fmla="*/ 0 h 4890220"/>
                  <a:gd name="connsiteX0-1597" fmla="*/ 951066 w 4684200"/>
                  <a:gd name="connsiteY0-1598" fmla="*/ 0 h 4890220"/>
                  <a:gd name="connsiteX1-1599" fmla="*/ 1190230 w 4684200"/>
                  <a:gd name="connsiteY1-1600" fmla="*/ 851425 h 4890220"/>
                  <a:gd name="connsiteX2-1601" fmla="*/ 1507863 w 4684200"/>
                  <a:gd name="connsiteY2-1602" fmla="*/ 1159433 h 4890220"/>
                  <a:gd name="connsiteX3-1603" fmla="*/ 1786996 w 4684200"/>
                  <a:gd name="connsiteY3-1604" fmla="*/ 1765825 h 4890220"/>
                  <a:gd name="connsiteX4-1605" fmla="*/ 2056503 w 4684200"/>
                  <a:gd name="connsiteY4-1606" fmla="*/ 1611821 h 4890220"/>
                  <a:gd name="connsiteX5-1607" fmla="*/ 2068468 w 4684200"/>
                  <a:gd name="connsiteY5-1608" fmla="*/ 1818697 h 4890220"/>
                  <a:gd name="connsiteX6-1609" fmla="*/ 2017668 w 4684200"/>
                  <a:gd name="connsiteY6-1610" fmla="*/ 1949930 h 4890220"/>
                  <a:gd name="connsiteX7-1611" fmla="*/ 2316385 w 4684200"/>
                  <a:gd name="connsiteY7-1612" fmla="*/ 2401092 h 4890220"/>
                  <a:gd name="connsiteX8-1613" fmla="*/ 2503796 w 4684200"/>
                  <a:gd name="connsiteY8-1614" fmla="*/ 2759857 h 4890220"/>
                  <a:gd name="connsiteX9-1615" fmla="*/ 2808390 w 4684200"/>
                  <a:gd name="connsiteY9-1616" fmla="*/ 3002843 h 4890220"/>
                  <a:gd name="connsiteX10-1617" fmla="*/ 3081225 w 4684200"/>
                  <a:gd name="connsiteY10-1618" fmla="*/ 3434950 h 4890220"/>
                  <a:gd name="connsiteX11-1619" fmla="*/ 3512548 w 4684200"/>
                  <a:gd name="connsiteY11-1620" fmla="*/ 3565251 h 4890220"/>
                  <a:gd name="connsiteX12-1621" fmla="*/ 3885669 w 4684200"/>
                  <a:gd name="connsiteY12-1622" fmla="*/ 3609830 h 4890220"/>
                  <a:gd name="connsiteX13-1623" fmla="*/ 4684200 w 4684200"/>
                  <a:gd name="connsiteY13-1624" fmla="*/ 4884410 h 4890220"/>
                  <a:gd name="connsiteX14-1625" fmla="*/ 3328548 w 4684200"/>
                  <a:gd name="connsiteY14-1626" fmla="*/ 4890220 h 4890220"/>
                  <a:gd name="connsiteX15-1627" fmla="*/ 3240292 w 4684200"/>
                  <a:gd name="connsiteY15-1628" fmla="*/ 4686873 h 4890220"/>
                  <a:gd name="connsiteX16-1629" fmla="*/ 2841252 w 4684200"/>
                  <a:gd name="connsiteY16-1630" fmla="*/ 4213490 h 4890220"/>
                  <a:gd name="connsiteX17-1631" fmla="*/ 2082595 w 4684200"/>
                  <a:gd name="connsiteY17-1632" fmla="*/ 3949681 h 4890220"/>
                  <a:gd name="connsiteX18-1633" fmla="*/ 637552 w 4684200"/>
                  <a:gd name="connsiteY18-1634" fmla="*/ 3595252 h 4890220"/>
                  <a:gd name="connsiteX19-1635" fmla="*/ 0 w 4684200"/>
                  <a:gd name="connsiteY19-1636" fmla="*/ 3171811 h 4890220"/>
                  <a:gd name="connsiteX20-1637" fmla="*/ 772821 w 4684200"/>
                  <a:gd name="connsiteY20-1638" fmla="*/ 2371686 h 4890220"/>
                  <a:gd name="connsiteX21-1639" fmla="*/ 1415158 w 4684200"/>
                  <a:gd name="connsiteY21-1640" fmla="*/ 1857227 h 4890220"/>
                  <a:gd name="connsiteX22-1641" fmla="*/ 1487331 w 4684200"/>
                  <a:gd name="connsiteY22-1642" fmla="*/ 1592736 h 4890220"/>
                  <a:gd name="connsiteX23-1643" fmla="*/ 590867 w 4684200"/>
                  <a:gd name="connsiteY23-1644" fmla="*/ 1370482 h 4890220"/>
                  <a:gd name="connsiteX24-1645" fmla="*/ 382228 w 4684200"/>
                  <a:gd name="connsiteY24-1646" fmla="*/ 1062960 h 4890220"/>
                  <a:gd name="connsiteX25-1647" fmla="*/ 951066 w 4684200"/>
                  <a:gd name="connsiteY25-1648" fmla="*/ 0 h 4890220"/>
                  <a:gd name="connsiteX0-1649" fmla="*/ 951066 w 4684200"/>
                  <a:gd name="connsiteY0-1650" fmla="*/ 0 h 4890220"/>
                  <a:gd name="connsiteX1-1651" fmla="*/ 1190230 w 4684200"/>
                  <a:gd name="connsiteY1-1652" fmla="*/ 851425 h 4890220"/>
                  <a:gd name="connsiteX2-1653" fmla="*/ 1507863 w 4684200"/>
                  <a:gd name="connsiteY2-1654" fmla="*/ 1159433 h 4890220"/>
                  <a:gd name="connsiteX3-1655" fmla="*/ 1786996 w 4684200"/>
                  <a:gd name="connsiteY3-1656" fmla="*/ 1765825 h 4890220"/>
                  <a:gd name="connsiteX4-1657" fmla="*/ 2056503 w 4684200"/>
                  <a:gd name="connsiteY4-1658" fmla="*/ 1611821 h 4890220"/>
                  <a:gd name="connsiteX5-1659" fmla="*/ 2068468 w 4684200"/>
                  <a:gd name="connsiteY5-1660" fmla="*/ 1818697 h 4890220"/>
                  <a:gd name="connsiteX6-1661" fmla="*/ 2017668 w 4684200"/>
                  <a:gd name="connsiteY6-1662" fmla="*/ 1949930 h 4890220"/>
                  <a:gd name="connsiteX7-1663" fmla="*/ 2316385 w 4684200"/>
                  <a:gd name="connsiteY7-1664" fmla="*/ 2401092 h 4890220"/>
                  <a:gd name="connsiteX8-1665" fmla="*/ 2503796 w 4684200"/>
                  <a:gd name="connsiteY8-1666" fmla="*/ 2759857 h 4890220"/>
                  <a:gd name="connsiteX9-1667" fmla="*/ 2808390 w 4684200"/>
                  <a:gd name="connsiteY9-1668" fmla="*/ 3002843 h 4890220"/>
                  <a:gd name="connsiteX10-1669" fmla="*/ 3081225 w 4684200"/>
                  <a:gd name="connsiteY10-1670" fmla="*/ 3434950 h 4890220"/>
                  <a:gd name="connsiteX11-1671" fmla="*/ 3512548 w 4684200"/>
                  <a:gd name="connsiteY11-1672" fmla="*/ 3565251 h 4890220"/>
                  <a:gd name="connsiteX12-1673" fmla="*/ 3885669 w 4684200"/>
                  <a:gd name="connsiteY12-1674" fmla="*/ 3609830 h 4890220"/>
                  <a:gd name="connsiteX13-1675" fmla="*/ 4684200 w 4684200"/>
                  <a:gd name="connsiteY13-1676" fmla="*/ 4884410 h 4890220"/>
                  <a:gd name="connsiteX14-1677" fmla="*/ 3328548 w 4684200"/>
                  <a:gd name="connsiteY14-1678" fmla="*/ 4890220 h 4890220"/>
                  <a:gd name="connsiteX15-1679" fmla="*/ 3240292 w 4684200"/>
                  <a:gd name="connsiteY15-1680" fmla="*/ 4686873 h 4890220"/>
                  <a:gd name="connsiteX16-1681" fmla="*/ 2841252 w 4684200"/>
                  <a:gd name="connsiteY16-1682" fmla="*/ 4213490 h 4890220"/>
                  <a:gd name="connsiteX17-1683" fmla="*/ 2082595 w 4684200"/>
                  <a:gd name="connsiteY17-1684" fmla="*/ 3949681 h 4890220"/>
                  <a:gd name="connsiteX18-1685" fmla="*/ 637552 w 4684200"/>
                  <a:gd name="connsiteY18-1686" fmla="*/ 3595252 h 4890220"/>
                  <a:gd name="connsiteX19-1687" fmla="*/ 0 w 4684200"/>
                  <a:gd name="connsiteY19-1688" fmla="*/ 3171811 h 4890220"/>
                  <a:gd name="connsiteX20-1689" fmla="*/ 772821 w 4684200"/>
                  <a:gd name="connsiteY20-1690" fmla="*/ 2371686 h 4890220"/>
                  <a:gd name="connsiteX21-1691" fmla="*/ 1415158 w 4684200"/>
                  <a:gd name="connsiteY21-1692" fmla="*/ 1857227 h 4890220"/>
                  <a:gd name="connsiteX22-1693" fmla="*/ 1002333 w 4684200"/>
                  <a:gd name="connsiteY22-1694" fmla="*/ 1611391 h 4890220"/>
                  <a:gd name="connsiteX23-1695" fmla="*/ 590867 w 4684200"/>
                  <a:gd name="connsiteY23-1696" fmla="*/ 1370482 h 4890220"/>
                  <a:gd name="connsiteX24-1697" fmla="*/ 382228 w 4684200"/>
                  <a:gd name="connsiteY24-1698" fmla="*/ 1062960 h 4890220"/>
                  <a:gd name="connsiteX25-1699" fmla="*/ 951066 w 4684200"/>
                  <a:gd name="connsiteY25-1700" fmla="*/ 0 h 4890220"/>
                  <a:gd name="connsiteX0-1701" fmla="*/ 699240 w 4432374"/>
                  <a:gd name="connsiteY0-1702" fmla="*/ 0 h 4890220"/>
                  <a:gd name="connsiteX1-1703" fmla="*/ 938404 w 4432374"/>
                  <a:gd name="connsiteY1-1704" fmla="*/ 851425 h 4890220"/>
                  <a:gd name="connsiteX2-1705" fmla="*/ 1256037 w 4432374"/>
                  <a:gd name="connsiteY2-1706" fmla="*/ 1159433 h 4890220"/>
                  <a:gd name="connsiteX3-1707" fmla="*/ 1535170 w 4432374"/>
                  <a:gd name="connsiteY3-1708" fmla="*/ 1765825 h 4890220"/>
                  <a:gd name="connsiteX4-1709" fmla="*/ 1804677 w 4432374"/>
                  <a:gd name="connsiteY4-1710" fmla="*/ 1611821 h 4890220"/>
                  <a:gd name="connsiteX5-1711" fmla="*/ 1816642 w 4432374"/>
                  <a:gd name="connsiteY5-1712" fmla="*/ 1818697 h 4890220"/>
                  <a:gd name="connsiteX6-1713" fmla="*/ 1765842 w 4432374"/>
                  <a:gd name="connsiteY6-1714" fmla="*/ 1949930 h 4890220"/>
                  <a:gd name="connsiteX7-1715" fmla="*/ 2064559 w 4432374"/>
                  <a:gd name="connsiteY7-1716" fmla="*/ 2401092 h 4890220"/>
                  <a:gd name="connsiteX8-1717" fmla="*/ 2251970 w 4432374"/>
                  <a:gd name="connsiteY8-1718" fmla="*/ 2759857 h 4890220"/>
                  <a:gd name="connsiteX9-1719" fmla="*/ 2556564 w 4432374"/>
                  <a:gd name="connsiteY9-1720" fmla="*/ 3002843 h 4890220"/>
                  <a:gd name="connsiteX10-1721" fmla="*/ 2829399 w 4432374"/>
                  <a:gd name="connsiteY10-1722" fmla="*/ 3434950 h 4890220"/>
                  <a:gd name="connsiteX11-1723" fmla="*/ 3260722 w 4432374"/>
                  <a:gd name="connsiteY11-1724" fmla="*/ 3565251 h 4890220"/>
                  <a:gd name="connsiteX12-1725" fmla="*/ 3633843 w 4432374"/>
                  <a:gd name="connsiteY12-1726" fmla="*/ 3609830 h 4890220"/>
                  <a:gd name="connsiteX13-1727" fmla="*/ 4432374 w 4432374"/>
                  <a:gd name="connsiteY13-1728" fmla="*/ 4884410 h 4890220"/>
                  <a:gd name="connsiteX14-1729" fmla="*/ 3076722 w 4432374"/>
                  <a:gd name="connsiteY14-1730" fmla="*/ 4890220 h 4890220"/>
                  <a:gd name="connsiteX15-1731" fmla="*/ 2988466 w 4432374"/>
                  <a:gd name="connsiteY15-1732" fmla="*/ 4686873 h 4890220"/>
                  <a:gd name="connsiteX16-1733" fmla="*/ 2589426 w 4432374"/>
                  <a:gd name="connsiteY16-1734" fmla="*/ 4213490 h 4890220"/>
                  <a:gd name="connsiteX17-1735" fmla="*/ 1830769 w 4432374"/>
                  <a:gd name="connsiteY17-1736" fmla="*/ 3949681 h 4890220"/>
                  <a:gd name="connsiteX18-1737" fmla="*/ 385726 w 4432374"/>
                  <a:gd name="connsiteY18-1738" fmla="*/ 3595252 h 4890220"/>
                  <a:gd name="connsiteX19-1739" fmla="*/ 0 w 4432374"/>
                  <a:gd name="connsiteY19-1740" fmla="*/ 3097195 h 4890220"/>
                  <a:gd name="connsiteX20-1741" fmla="*/ 520995 w 4432374"/>
                  <a:gd name="connsiteY20-1742" fmla="*/ 2371686 h 4890220"/>
                  <a:gd name="connsiteX21-1743" fmla="*/ 1163332 w 4432374"/>
                  <a:gd name="connsiteY21-1744" fmla="*/ 1857227 h 4890220"/>
                  <a:gd name="connsiteX22-1745" fmla="*/ 750507 w 4432374"/>
                  <a:gd name="connsiteY22-1746" fmla="*/ 1611391 h 4890220"/>
                  <a:gd name="connsiteX23-1747" fmla="*/ 339041 w 4432374"/>
                  <a:gd name="connsiteY23-1748" fmla="*/ 1370482 h 4890220"/>
                  <a:gd name="connsiteX24-1749" fmla="*/ 130402 w 4432374"/>
                  <a:gd name="connsiteY24-1750" fmla="*/ 1062960 h 4890220"/>
                  <a:gd name="connsiteX25-1751" fmla="*/ 699240 w 4432374"/>
                  <a:gd name="connsiteY25-1752" fmla="*/ 0 h 4890220"/>
                  <a:gd name="connsiteX0-1753" fmla="*/ 699240 w 4432374"/>
                  <a:gd name="connsiteY0-1754" fmla="*/ 0 h 4890220"/>
                  <a:gd name="connsiteX1-1755" fmla="*/ 938404 w 4432374"/>
                  <a:gd name="connsiteY1-1756" fmla="*/ 851425 h 4890220"/>
                  <a:gd name="connsiteX2-1757" fmla="*/ 1256037 w 4432374"/>
                  <a:gd name="connsiteY2-1758" fmla="*/ 1159433 h 4890220"/>
                  <a:gd name="connsiteX3-1759" fmla="*/ 1535170 w 4432374"/>
                  <a:gd name="connsiteY3-1760" fmla="*/ 1765825 h 4890220"/>
                  <a:gd name="connsiteX4-1761" fmla="*/ 1804677 w 4432374"/>
                  <a:gd name="connsiteY4-1762" fmla="*/ 1611821 h 4890220"/>
                  <a:gd name="connsiteX5-1763" fmla="*/ 1816642 w 4432374"/>
                  <a:gd name="connsiteY5-1764" fmla="*/ 1818697 h 4890220"/>
                  <a:gd name="connsiteX6-1765" fmla="*/ 1765842 w 4432374"/>
                  <a:gd name="connsiteY6-1766" fmla="*/ 1949930 h 4890220"/>
                  <a:gd name="connsiteX7-1767" fmla="*/ 2064559 w 4432374"/>
                  <a:gd name="connsiteY7-1768" fmla="*/ 2401092 h 4890220"/>
                  <a:gd name="connsiteX8-1769" fmla="*/ 2251970 w 4432374"/>
                  <a:gd name="connsiteY8-1770" fmla="*/ 2759857 h 4890220"/>
                  <a:gd name="connsiteX9-1771" fmla="*/ 2556564 w 4432374"/>
                  <a:gd name="connsiteY9-1772" fmla="*/ 3002843 h 4890220"/>
                  <a:gd name="connsiteX10-1773" fmla="*/ 2829399 w 4432374"/>
                  <a:gd name="connsiteY10-1774" fmla="*/ 3434950 h 4890220"/>
                  <a:gd name="connsiteX11-1775" fmla="*/ 3260722 w 4432374"/>
                  <a:gd name="connsiteY11-1776" fmla="*/ 3565251 h 4890220"/>
                  <a:gd name="connsiteX12-1777" fmla="*/ 3633843 w 4432374"/>
                  <a:gd name="connsiteY12-1778" fmla="*/ 3609830 h 4890220"/>
                  <a:gd name="connsiteX13-1779" fmla="*/ 4432374 w 4432374"/>
                  <a:gd name="connsiteY13-1780" fmla="*/ 4884410 h 4890220"/>
                  <a:gd name="connsiteX14-1781" fmla="*/ 3076722 w 4432374"/>
                  <a:gd name="connsiteY14-1782" fmla="*/ 4890220 h 4890220"/>
                  <a:gd name="connsiteX15-1783" fmla="*/ 2988466 w 4432374"/>
                  <a:gd name="connsiteY15-1784" fmla="*/ 4686873 h 4890220"/>
                  <a:gd name="connsiteX16-1785" fmla="*/ 2589426 w 4432374"/>
                  <a:gd name="connsiteY16-1786" fmla="*/ 4213490 h 4890220"/>
                  <a:gd name="connsiteX17-1787" fmla="*/ 1830769 w 4432374"/>
                  <a:gd name="connsiteY17-1788" fmla="*/ 3949681 h 4890220"/>
                  <a:gd name="connsiteX18-1789" fmla="*/ 721493 w 4432374"/>
                  <a:gd name="connsiteY18-1790" fmla="*/ 3697847 h 4890220"/>
                  <a:gd name="connsiteX19-1791" fmla="*/ 0 w 4432374"/>
                  <a:gd name="connsiteY19-1792" fmla="*/ 3097195 h 4890220"/>
                  <a:gd name="connsiteX20-1793" fmla="*/ 520995 w 4432374"/>
                  <a:gd name="connsiteY20-1794" fmla="*/ 2371686 h 4890220"/>
                  <a:gd name="connsiteX21-1795" fmla="*/ 1163332 w 4432374"/>
                  <a:gd name="connsiteY21-1796" fmla="*/ 1857227 h 4890220"/>
                  <a:gd name="connsiteX22-1797" fmla="*/ 750507 w 4432374"/>
                  <a:gd name="connsiteY22-1798" fmla="*/ 1611391 h 4890220"/>
                  <a:gd name="connsiteX23-1799" fmla="*/ 339041 w 4432374"/>
                  <a:gd name="connsiteY23-1800" fmla="*/ 1370482 h 4890220"/>
                  <a:gd name="connsiteX24-1801" fmla="*/ 130402 w 4432374"/>
                  <a:gd name="connsiteY24-1802" fmla="*/ 1062960 h 4890220"/>
                  <a:gd name="connsiteX25-1803" fmla="*/ 699240 w 4432374"/>
                  <a:gd name="connsiteY25-1804" fmla="*/ 0 h 4890220"/>
                  <a:gd name="connsiteX0-1805" fmla="*/ 913758 w 4646892"/>
                  <a:gd name="connsiteY0-1806" fmla="*/ 0 h 4890220"/>
                  <a:gd name="connsiteX1-1807" fmla="*/ 1152922 w 4646892"/>
                  <a:gd name="connsiteY1-1808" fmla="*/ 851425 h 4890220"/>
                  <a:gd name="connsiteX2-1809" fmla="*/ 1470555 w 4646892"/>
                  <a:gd name="connsiteY2-1810" fmla="*/ 1159433 h 4890220"/>
                  <a:gd name="connsiteX3-1811" fmla="*/ 1749688 w 4646892"/>
                  <a:gd name="connsiteY3-1812" fmla="*/ 1765825 h 4890220"/>
                  <a:gd name="connsiteX4-1813" fmla="*/ 2019195 w 4646892"/>
                  <a:gd name="connsiteY4-1814" fmla="*/ 1611821 h 4890220"/>
                  <a:gd name="connsiteX5-1815" fmla="*/ 2031160 w 4646892"/>
                  <a:gd name="connsiteY5-1816" fmla="*/ 1818697 h 4890220"/>
                  <a:gd name="connsiteX6-1817" fmla="*/ 1980360 w 4646892"/>
                  <a:gd name="connsiteY6-1818" fmla="*/ 1949930 h 4890220"/>
                  <a:gd name="connsiteX7-1819" fmla="*/ 2279077 w 4646892"/>
                  <a:gd name="connsiteY7-1820" fmla="*/ 2401092 h 4890220"/>
                  <a:gd name="connsiteX8-1821" fmla="*/ 2466488 w 4646892"/>
                  <a:gd name="connsiteY8-1822" fmla="*/ 2759857 h 4890220"/>
                  <a:gd name="connsiteX9-1823" fmla="*/ 2771082 w 4646892"/>
                  <a:gd name="connsiteY9-1824" fmla="*/ 3002843 h 4890220"/>
                  <a:gd name="connsiteX10-1825" fmla="*/ 3043917 w 4646892"/>
                  <a:gd name="connsiteY10-1826" fmla="*/ 3434950 h 4890220"/>
                  <a:gd name="connsiteX11-1827" fmla="*/ 3475240 w 4646892"/>
                  <a:gd name="connsiteY11-1828" fmla="*/ 3565251 h 4890220"/>
                  <a:gd name="connsiteX12-1829" fmla="*/ 3848361 w 4646892"/>
                  <a:gd name="connsiteY12-1830" fmla="*/ 3609830 h 4890220"/>
                  <a:gd name="connsiteX13-1831" fmla="*/ 4646892 w 4646892"/>
                  <a:gd name="connsiteY13-1832" fmla="*/ 4884410 h 4890220"/>
                  <a:gd name="connsiteX14-1833" fmla="*/ 3291240 w 4646892"/>
                  <a:gd name="connsiteY14-1834" fmla="*/ 4890220 h 4890220"/>
                  <a:gd name="connsiteX15-1835" fmla="*/ 3202984 w 4646892"/>
                  <a:gd name="connsiteY15-1836" fmla="*/ 4686873 h 4890220"/>
                  <a:gd name="connsiteX16-1837" fmla="*/ 2803944 w 4646892"/>
                  <a:gd name="connsiteY16-1838" fmla="*/ 4213490 h 4890220"/>
                  <a:gd name="connsiteX17-1839" fmla="*/ 2045287 w 4646892"/>
                  <a:gd name="connsiteY17-1840" fmla="*/ 3949681 h 4890220"/>
                  <a:gd name="connsiteX18-1841" fmla="*/ 936011 w 4646892"/>
                  <a:gd name="connsiteY18-1842" fmla="*/ 3697847 h 4890220"/>
                  <a:gd name="connsiteX19-1843" fmla="*/ 0 w 4646892"/>
                  <a:gd name="connsiteY19-1844" fmla="*/ 3274405 h 4890220"/>
                  <a:gd name="connsiteX20-1845" fmla="*/ 735513 w 4646892"/>
                  <a:gd name="connsiteY20-1846" fmla="*/ 2371686 h 4890220"/>
                  <a:gd name="connsiteX21-1847" fmla="*/ 1377850 w 4646892"/>
                  <a:gd name="connsiteY21-1848" fmla="*/ 1857227 h 4890220"/>
                  <a:gd name="connsiteX22-1849" fmla="*/ 965025 w 4646892"/>
                  <a:gd name="connsiteY22-1850" fmla="*/ 1611391 h 4890220"/>
                  <a:gd name="connsiteX23-1851" fmla="*/ 553559 w 4646892"/>
                  <a:gd name="connsiteY23-1852" fmla="*/ 1370482 h 4890220"/>
                  <a:gd name="connsiteX24-1853" fmla="*/ 344920 w 4646892"/>
                  <a:gd name="connsiteY24-1854" fmla="*/ 1062960 h 4890220"/>
                  <a:gd name="connsiteX25-1855" fmla="*/ 913758 w 4646892"/>
                  <a:gd name="connsiteY25-1856" fmla="*/ 0 h 4890220"/>
                  <a:gd name="connsiteX0-1857" fmla="*/ 913758 w 4646892"/>
                  <a:gd name="connsiteY0-1858" fmla="*/ 0 h 4890220"/>
                  <a:gd name="connsiteX1-1859" fmla="*/ 1152922 w 4646892"/>
                  <a:gd name="connsiteY1-1860" fmla="*/ 851425 h 4890220"/>
                  <a:gd name="connsiteX2-1861" fmla="*/ 1470555 w 4646892"/>
                  <a:gd name="connsiteY2-1862" fmla="*/ 1159433 h 4890220"/>
                  <a:gd name="connsiteX3-1863" fmla="*/ 1749688 w 4646892"/>
                  <a:gd name="connsiteY3-1864" fmla="*/ 1765825 h 4890220"/>
                  <a:gd name="connsiteX4-1865" fmla="*/ 2019195 w 4646892"/>
                  <a:gd name="connsiteY4-1866" fmla="*/ 1611821 h 4890220"/>
                  <a:gd name="connsiteX5-1867" fmla="*/ 2031160 w 4646892"/>
                  <a:gd name="connsiteY5-1868" fmla="*/ 1818697 h 4890220"/>
                  <a:gd name="connsiteX6-1869" fmla="*/ 1980360 w 4646892"/>
                  <a:gd name="connsiteY6-1870" fmla="*/ 1949930 h 4890220"/>
                  <a:gd name="connsiteX7-1871" fmla="*/ 2279077 w 4646892"/>
                  <a:gd name="connsiteY7-1872" fmla="*/ 2401092 h 4890220"/>
                  <a:gd name="connsiteX8-1873" fmla="*/ 2466488 w 4646892"/>
                  <a:gd name="connsiteY8-1874" fmla="*/ 2759857 h 4890220"/>
                  <a:gd name="connsiteX9-1875" fmla="*/ 2771082 w 4646892"/>
                  <a:gd name="connsiteY9-1876" fmla="*/ 3002843 h 4890220"/>
                  <a:gd name="connsiteX10-1877" fmla="*/ 3043917 w 4646892"/>
                  <a:gd name="connsiteY10-1878" fmla="*/ 3434950 h 4890220"/>
                  <a:gd name="connsiteX11-1879" fmla="*/ 3475240 w 4646892"/>
                  <a:gd name="connsiteY11-1880" fmla="*/ 3565251 h 4890220"/>
                  <a:gd name="connsiteX12-1881" fmla="*/ 3848361 w 4646892"/>
                  <a:gd name="connsiteY12-1882" fmla="*/ 3609830 h 4890220"/>
                  <a:gd name="connsiteX13-1883" fmla="*/ 4646892 w 4646892"/>
                  <a:gd name="connsiteY13-1884" fmla="*/ 4884410 h 4890220"/>
                  <a:gd name="connsiteX14-1885" fmla="*/ 3291240 w 4646892"/>
                  <a:gd name="connsiteY14-1886" fmla="*/ 4890220 h 4890220"/>
                  <a:gd name="connsiteX15-1887" fmla="*/ 3202984 w 4646892"/>
                  <a:gd name="connsiteY15-1888" fmla="*/ 4686873 h 4890220"/>
                  <a:gd name="connsiteX16-1889" fmla="*/ 2803944 w 4646892"/>
                  <a:gd name="connsiteY16-1890" fmla="*/ 4213490 h 4890220"/>
                  <a:gd name="connsiteX17-1891" fmla="*/ 2045287 w 4646892"/>
                  <a:gd name="connsiteY17-1892" fmla="*/ 3949681 h 4890220"/>
                  <a:gd name="connsiteX18-1893" fmla="*/ 936011 w 4646892"/>
                  <a:gd name="connsiteY18-1894" fmla="*/ 3697847 h 4890220"/>
                  <a:gd name="connsiteX19-1895" fmla="*/ 0 w 4646892"/>
                  <a:gd name="connsiteY19-1896" fmla="*/ 3274405 h 4890220"/>
                  <a:gd name="connsiteX20-1897" fmla="*/ 726186 w 4646892"/>
                  <a:gd name="connsiteY20-1898" fmla="*/ 2511590 h 4890220"/>
                  <a:gd name="connsiteX21-1899" fmla="*/ 1377850 w 4646892"/>
                  <a:gd name="connsiteY21-1900" fmla="*/ 1857227 h 4890220"/>
                  <a:gd name="connsiteX22-1901" fmla="*/ 965025 w 4646892"/>
                  <a:gd name="connsiteY22-1902" fmla="*/ 1611391 h 4890220"/>
                  <a:gd name="connsiteX23-1903" fmla="*/ 553559 w 4646892"/>
                  <a:gd name="connsiteY23-1904" fmla="*/ 1370482 h 4890220"/>
                  <a:gd name="connsiteX24-1905" fmla="*/ 344920 w 4646892"/>
                  <a:gd name="connsiteY24-1906" fmla="*/ 1062960 h 4890220"/>
                  <a:gd name="connsiteX25-1907" fmla="*/ 913758 w 4646892"/>
                  <a:gd name="connsiteY25-1908" fmla="*/ 0 h 4890220"/>
                  <a:gd name="connsiteX0-1909" fmla="*/ 913758 w 4646892"/>
                  <a:gd name="connsiteY0-1910" fmla="*/ 0 h 4890220"/>
                  <a:gd name="connsiteX1-1911" fmla="*/ 1152922 w 4646892"/>
                  <a:gd name="connsiteY1-1912" fmla="*/ 851425 h 4890220"/>
                  <a:gd name="connsiteX2-1913" fmla="*/ 1470555 w 4646892"/>
                  <a:gd name="connsiteY2-1914" fmla="*/ 1159433 h 4890220"/>
                  <a:gd name="connsiteX3-1915" fmla="*/ 1749688 w 4646892"/>
                  <a:gd name="connsiteY3-1916" fmla="*/ 1765825 h 4890220"/>
                  <a:gd name="connsiteX4-1917" fmla="*/ 2019195 w 4646892"/>
                  <a:gd name="connsiteY4-1918" fmla="*/ 1611821 h 4890220"/>
                  <a:gd name="connsiteX5-1919" fmla="*/ 2031160 w 4646892"/>
                  <a:gd name="connsiteY5-1920" fmla="*/ 1818697 h 4890220"/>
                  <a:gd name="connsiteX6-1921" fmla="*/ 1980360 w 4646892"/>
                  <a:gd name="connsiteY6-1922" fmla="*/ 1949930 h 4890220"/>
                  <a:gd name="connsiteX7-1923" fmla="*/ 2279077 w 4646892"/>
                  <a:gd name="connsiteY7-1924" fmla="*/ 2401092 h 4890220"/>
                  <a:gd name="connsiteX8-1925" fmla="*/ 2466488 w 4646892"/>
                  <a:gd name="connsiteY8-1926" fmla="*/ 2759857 h 4890220"/>
                  <a:gd name="connsiteX9-1927" fmla="*/ 2771082 w 4646892"/>
                  <a:gd name="connsiteY9-1928" fmla="*/ 3002843 h 4890220"/>
                  <a:gd name="connsiteX10-1929" fmla="*/ 3043917 w 4646892"/>
                  <a:gd name="connsiteY10-1930" fmla="*/ 3434950 h 4890220"/>
                  <a:gd name="connsiteX11-1931" fmla="*/ 3475240 w 4646892"/>
                  <a:gd name="connsiteY11-1932" fmla="*/ 3565251 h 4890220"/>
                  <a:gd name="connsiteX12-1933" fmla="*/ 3848361 w 4646892"/>
                  <a:gd name="connsiteY12-1934" fmla="*/ 3609830 h 4890220"/>
                  <a:gd name="connsiteX13-1935" fmla="*/ 4646892 w 4646892"/>
                  <a:gd name="connsiteY13-1936" fmla="*/ 4884410 h 4890220"/>
                  <a:gd name="connsiteX14-1937" fmla="*/ 3291240 w 4646892"/>
                  <a:gd name="connsiteY14-1938" fmla="*/ 4890220 h 4890220"/>
                  <a:gd name="connsiteX15-1939" fmla="*/ 3202984 w 4646892"/>
                  <a:gd name="connsiteY15-1940" fmla="*/ 4686873 h 4890220"/>
                  <a:gd name="connsiteX16-1941" fmla="*/ 2803944 w 4646892"/>
                  <a:gd name="connsiteY16-1942" fmla="*/ 4213490 h 4890220"/>
                  <a:gd name="connsiteX17-1943" fmla="*/ 2045287 w 4646892"/>
                  <a:gd name="connsiteY17-1944" fmla="*/ 3949681 h 4890220"/>
                  <a:gd name="connsiteX18-1945" fmla="*/ 945339 w 4646892"/>
                  <a:gd name="connsiteY18-1946" fmla="*/ 3856405 h 4890220"/>
                  <a:gd name="connsiteX19-1947" fmla="*/ 0 w 4646892"/>
                  <a:gd name="connsiteY19-1948" fmla="*/ 3274405 h 4890220"/>
                  <a:gd name="connsiteX20-1949" fmla="*/ 726186 w 4646892"/>
                  <a:gd name="connsiteY20-1950" fmla="*/ 2511590 h 4890220"/>
                  <a:gd name="connsiteX21-1951" fmla="*/ 1377850 w 4646892"/>
                  <a:gd name="connsiteY21-1952" fmla="*/ 1857227 h 4890220"/>
                  <a:gd name="connsiteX22-1953" fmla="*/ 965025 w 4646892"/>
                  <a:gd name="connsiteY22-1954" fmla="*/ 1611391 h 4890220"/>
                  <a:gd name="connsiteX23-1955" fmla="*/ 553559 w 4646892"/>
                  <a:gd name="connsiteY23-1956" fmla="*/ 1370482 h 4890220"/>
                  <a:gd name="connsiteX24-1957" fmla="*/ 344920 w 4646892"/>
                  <a:gd name="connsiteY24-1958" fmla="*/ 1062960 h 4890220"/>
                  <a:gd name="connsiteX25-1959" fmla="*/ 913758 w 4646892"/>
                  <a:gd name="connsiteY25-1960" fmla="*/ 0 h 4890220"/>
                  <a:gd name="connsiteX0-1961" fmla="*/ 913758 w 4646892"/>
                  <a:gd name="connsiteY0-1962" fmla="*/ 0 h 4890220"/>
                  <a:gd name="connsiteX1-1963" fmla="*/ 1152922 w 4646892"/>
                  <a:gd name="connsiteY1-1964" fmla="*/ 851425 h 4890220"/>
                  <a:gd name="connsiteX2-1965" fmla="*/ 1470555 w 4646892"/>
                  <a:gd name="connsiteY2-1966" fmla="*/ 1159433 h 4890220"/>
                  <a:gd name="connsiteX3-1967" fmla="*/ 1749688 w 4646892"/>
                  <a:gd name="connsiteY3-1968" fmla="*/ 1765825 h 4890220"/>
                  <a:gd name="connsiteX4-1969" fmla="*/ 2019195 w 4646892"/>
                  <a:gd name="connsiteY4-1970" fmla="*/ 1611821 h 4890220"/>
                  <a:gd name="connsiteX5-1971" fmla="*/ 2031160 w 4646892"/>
                  <a:gd name="connsiteY5-1972" fmla="*/ 1818697 h 4890220"/>
                  <a:gd name="connsiteX6-1973" fmla="*/ 1980360 w 4646892"/>
                  <a:gd name="connsiteY6-1974" fmla="*/ 1949930 h 4890220"/>
                  <a:gd name="connsiteX7-1975" fmla="*/ 2279077 w 4646892"/>
                  <a:gd name="connsiteY7-1976" fmla="*/ 2401092 h 4890220"/>
                  <a:gd name="connsiteX8-1977" fmla="*/ 2466488 w 4646892"/>
                  <a:gd name="connsiteY8-1978" fmla="*/ 2759857 h 4890220"/>
                  <a:gd name="connsiteX9-1979" fmla="*/ 2771082 w 4646892"/>
                  <a:gd name="connsiteY9-1980" fmla="*/ 3002843 h 4890220"/>
                  <a:gd name="connsiteX10-1981" fmla="*/ 3043917 w 4646892"/>
                  <a:gd name="connsiteY10-1982" fmla="*/ 3434950 h 4890220"/>
                  <a:gd name="connsiteX11-1983" fmla="*/ 3475240 w 4646892"/>
                  <a:gd name="connsiteY11-1984" fmla="*/ 3565251 h 4890220"/>
                  <a:gd name="connsiteX12-1985" fmla="*/ 3848361 w 4646892"/>
                  <a:gd name="connsiteY12-1986" fmla="*/ 3609830 h 4890220"/>
                  <a:gd name="connsiteX13-1987" fmla="*/ 4646892 w 4646892"/>
                  <a:gd name="connsiteY13-1988" fmla="*/ 4884410 h 4890220"/>
                  <a:gd name="connsiteX14-1989" fmla="*/ 3291240 w 4646892"/>
                  <a:gd name="connsiteY14-1990" fmla="*/ 4890220 h 4890220"/>
                  <a:gd name="connsiteX15-1991" fmla="*/ 3202984 w 4646892"/>
                  <a:gd name="connsiteY15-1992" fmla="*/ 4686873 h 4890220"/>
                  <a:gd name="connsiteX16-1993" fmla="*/ 2803944 w 4646892"/>
                  <a:gd name="connsiteY16-1994" fmla="*/ 4213490 h 4890220"/>
                  <a:gd name="connsiteX17-1995" fmla="*/ 2054614 w 4646892"/>
                  <a:gd name="connsiteY17-1996" fmla="*/ 3921700 h 4890220"/>
                  <a:gd name="connsiteX18-1997" fmla="*/ 945339 w 4646892"/>
                  <a:gd name="connsiteY18-1998" fmla="*/ 3856405 h 4890220"/>
                  <a:gd name="connsiteX19-1999" fmla="*/ 0 w 4646892"/>
                  <a:gd name="connsiteY19-2000" fmla="*/ 3274405 h 4890220"/>
                  <a:gd name="connsiteX20-2001" fmla="*/ 726186 w 4646892"/>
                  <a:gd name="connsiteY20-2002" fmla="*/ 2511590 h 4890220"/>
                  <a:gd name="connsiteX21-2003" fmla="*/ 1377850 w 4646892"/>
                  <a:gd name="connsiteY21-2004" fmla="*/ 1857227 h 4890220"/>
                  <a:gd name="connsiteX22-2005" fmla="*/ 965025 w 4646892"/>
                  <a:gd name="connsiteY22-2006" fmla="*/ 1611391 h 4890220"/>
                  <a:gd name="connsiteX23-2007" fmla="*/ 553559 w 4646892"/>
                  <a:gd name="connsiteY23-2008" fmla="*/ 1370482 h 4890220"/>
                  <a:gd name="connsiteX24-2009" fmla="*/ 344920 w 4646892"/>
                  <a:gd name="connsiteY24-2010" fmla="*/ 1062960 h 4890220"/>
                  <a:gd name="connsiteX25-2011" fmla="*/ 913758 w 4646892"/>
                  <a:gd name="connsiteY25-2012" fmla="*/ 0 h 4890220"/>
                  <a:gd name="connsiteX0-2013" fmla="*/ 913758 w 4646892"/>
                  <a:gd name="connsiteY0-2014" fmla="*/ 0 h 4890220"/>
                  <a:gd name="connsiteX1-2015" fmla="*/ 1152922 w 4646892"/>
                  <a:gd name="connsiteY1-2016" fmla="*/ 851425 h 4890220"/>
                  <a:gd name="connsiteX2-2017" fmla="*/ 1470555 w 4646892"/>
                  <a:gd name="connsiteY2-2018" fmla="*/ 1159433 h 4890220"/>
                  <a:gd name="connsiteX3-2019" fmla="*/ 1749688 w 4646892"/>
                  <a:gd name="connsiteY3-2020" fmla="*/ 1765825 h 4890220"/>
                  <a:gd name="connsiteX4-2021" fmla="*/ 2019195 w 4646892"/>
                  <a:gd name="connsiteY4-2022" fmla="*/ 1611821 h 4890220"/>
                  <a:gd name="connsiteX5-2023" fmla="*/ 2031160 w 4646892"/>
                  <a:gd name="connsiteY5-2024" fmla="*/ 1818697 h 4890220"/>
                  <a:gd name="connsiteX6-2025" fmla="*/ 1980360 w 4646892"/>
                  <a:gd name="connsiteY6-2026" fmla="*/ 1949930 h 4890220"/>
                  <a:gd name="connsiteX7-2027" fmla="*/ 2279077 w 4646892"/>
                  <a:gd name="connsiteY7-2028" fmla="*/ 2401092 h 4890220"/>
                  <a:gd name="connsiteX8-2029" fmla="*/ 2466488 w 4646892"/>
                  <a:gd name="connsiteY8-2030" fmla="*/ 2759857 h 4890220"/>
                  <a:gd name="connsiteX9-2031" fmla="*/ 2771082 w 4646892"/>
                  <a:gd name="connsiteY9-2032" fmla="*/ 3002843 h 4890220"/>
                  <a:gd name="connsiteX10-2033" fmla="*/ 3043917 w 4646892"/>
                  <a:gd name="connsiteY10-2034" fmla="*/ 3434950 h 4890220"/>
                  <a:gd name="connsiteX11-2035" fmla="*/ 3475240 w 4646892"/>
                  <a:gd name="connsiteY11-2036" fmla="*/ 3565251 h 4890220"/>
                  <a:gd name="connsiteX12-2037" fmla="*/ 3848361 w 4646892"/>
                  <a:gd name="connsiteY12-2038" fmla="*/ 3609830 h 4890220"/>
                  <a:gd name="connsiteX13-2039" fmla="*/ 4646892 w 4646892"/>
                  <a:gd name="connsiteY13-2040" fmla="*/ 4884410 h 4890220"/>
                  <a:gd name="connsiteX14-2041" fmla="*/ 3291240 w 4646892"/>
                  <a:gd name="connsiteY14-2042" fmla="*/ 4890220 h 4890220"/>
                  <a:gd name="connsiteX15-2043" fmla="*/ 3202984 w 4646892"/>
                  <a:gd name="connsiteY15-2044" fmla="*/ 4686873 h 4890220"/>
                  <a:gd name="connsiteX16-2045" fmla="*/ 2803944 w 4646892"/>
                  <a:gd name="connsiteY16-2046" fmla="*/ 4213490 h 4890220"/>
                  <a:gd name="connsiteX17-2047" fmla="*/ 2054614 w 4646892"/>
                  <a:gd name="connsiteY17-2048" fmla="*/ 4014970 h 4890220"/>
                  <a:gd name="connsiteX18-2049" fmla="*/ 945339 w 4646892"/>
                  <a:gd name="connsiteY18-2050" fmla="*/ 3856405 h 4890220"/>
                  <a:gd name="connsiteX19-2051" fmla="*/ 0 w 4646892"/>
                  <a:gd name="connsiteY19-2052" fmla="*/ 3274405 h 4890220"/>
                  <a:gd name="connsiteX20-2053" fmla="*/ 726186 w 4646892"/>
                  <a:gd name="connsiteY20-2054" fmla="*/ 2511590 h 4890220"/>
                  <a:gd name="connsiteX21-2055" fmla="*/ 1377850 w 4646892"/>
                  <a:gd name="connsiteY21-2056" fmla="*/ 1857227 h 4890220"/>
                  <a:gd name="connsiteX22-2057" fmla="*/ 965025 w 4646892"/>
                  <a:gd name="connsiteY22-2058" fmla="*/ 1611391 h 4890220"/>
                  <a:gd name="connsiteX23-2059" fmla="*/ 553559 w 4646892"/>
                  <a:gd name="connsiteY23-2060" fmla="*/ 1370482 h 4890220"/>
                  <a:gd name="connsiteX24-2061" fmla="*/ 344920 w 4646892"/>
                  <a:gd name="connsiteY24-2062" fmla="*/ 1062960 h 4890220"/>
                  <a:gd name="connsiteX25-2063" fmla="*/ 913758 w 4646892"/>
                  <a:gd name="connsiteY25-2064" fmla="*/ 0 h 4890220"/>
                  <a:gd name="connsiteX0-2065" fmla="*/ 913758 w 4646892"/>
                  <a:gd name="connsiteY0-2066" fmla="*/ 0 h 4890220"/>
                  <a:gd name="connsiteX1-2067" fmla="*/ 1152922 w 4646892"/>
                  <a:gd name="connsiteY1-2068" fmla="*/ 851425 h 4890220"/>
                  <a:gd name="connsiteX2-2069" fmla="*/ 1470555 w 4646892"/>
                  <a:gd name="connsiteY2-2070" fmla="*/ 1159433 h 4890220"/>
                  <a:gd name="connsiteX3-2071" fmla="*/ 1749688 w 4646892"/>
                  <a:gd name="connsiteY3-2072" fmla="*/ 1765825 h 4890220"/>
                  <a:gd name="connsiteX4-2073" fmla="*/ 2019195 w 4646892"/>
                  <a:gd name="connsiteY4-2074" fmla="*/ 1611821 h 4890220"/>
                  <a:gd name="connsiteX5-2075" fmla="*/ 2031160 w 4646892"/>
                  <a:gd name="connsiteY5-2076" fmla="*/ 1818697 h 4890220"/>
                  <a:gd name="connsiteX6-2077" fmla="*/ 1980360 w 4646892"/>
                  <a:gd name="connsiteY6-2078" fmla="*/ 1949930 h 4890220"/>
                  <a:gd name="connsiteX7-2079" fmla="*/ 2279077 w 4646892"/>
                  <a:gd name="connsiteY7-2080" fmla="*/ 2401092 h 4890220"/>
                  <a:gd name="connsiteX8-2081" fmla="*/ 2466488 w 4646892"/>
                  <a:gd name="connsiteY8-2082" fmla="*/ 2759857 h 4890220"/>
                  <a:gd name="connsiteX9-2083" fmla="*/ 2771082 w 4646892"/>
                  <a:gd name="connsiteY9-2084" fmla="*/ 3002843 h 4890220"/>
                  <a:gd name="connsiteX10-2085" fmla="*/ 3043917 w 4646892"/>
                  <a:gd name="connsiteY10-2086" fmla="*/ 3434950 h 4890220"/>
                  <a:gd name="connsiteX11-2087" fmla="*/ 3475240 w 4646892"/>
                  <a:gd name="connsiteY11-2088" fmla="*/ 3565251 h 4890220"/>
                  <a:gd name="connsiteX12-2089" fmla="*/ 3848361 w 4646892"/>
                  <a:gd name="connsiteY12-2090" fmla="*/ 3609830 h 4890220"/>
                  <a:gd name="connsiteX13-2091" fmla="*/ 4646892 w 4646892"/>
                  <a:gd name="connsiteY13-2092" fmla="*/ 4884410 h 4890220"/>
                  <a:gd name="connsiteX14-2093" fmla="*/ 3291240 w 4646892"/>
                  <a:gd name="connsiteY14-2094" fmla="*/ 4890220 h 4890220"/>
                  <a:gd name="connsiteX15-2095" fmla="*/ 3202984 w 4646892"/>
                  <a:gd name="connsiteY15-2096" fmla="*/ 4686873 h 4890220"/>
                  <a:gd name="connsiteX16-2097" fmla="*/ 2720002 w 4646892"/>
                  <a:gd name="connsiteY16-2098" fmla="*/ 4297432 h 4890220"/>
                  <a:gd name="connsiteX17-2099" fmla="*/ 2054614 w 4646892"/>
                  <a:gd name="connsiteY17-2100" fmla="*/ 4014970 h 4890220"/>
                  <a:gd name="connsiteX18-2101" fmla="*/ 945339 w 4646892"/>
                  <a:gd name="connsiteY18-2102" fmla="*/ 3856405 h 4890220"/>
                  <a:gd name="connsiteX19-2103" fmla="*/ 0 w 4646892"/>
                  <a:gd name="connsiteY19-2104" fmla="*/ 3274405 h 4890220"/>
                  <a:gd name="connsiteX20-2105" fmla="*/ 726186 w 4646892"/>
                  <a:gd name="connsiteY20-2106" fmla="*/ 2511590 h 4890220"/>
                  <a:gd name="connsiteX21-2107" fmla="*/ 1377850 w 4646892"/>
                  <a:gd name="connsiteY21-2108" fmla="*/ 1857227 h 4890220"/>
                  <a:gd name="connsiteX22-2109" fmla="*/ 965025 w 4646892"/>
                  <a:gd name="connsiteY22-2110" fmla="*/ 1611391 h 4890220"/>
                  <a:gd name="connsiteX23-2111" fmla="*/ 553559 w 4646892"/>
                  <a:gd name="connsiteY23-2112" fmla="*/ 1370482 h 4890220"/>
                  <a:gd name="connsiteX24-2113" fmla="*/ 344920 w 4646892"/>
                  <a:gd name="connsiteY24-2114" fmla="*/ 1062960 h 4890220"/>
                  <a:gd name="connsiteX25-2115" fmla="*/ 913758 w 4646892"/>
                  <a:gd name="connsiteY25-2116" fmla="*/ 0 h 4890220"/>
                  <a:gd name="connsiteX0-2117" fmla="*/ 913758 w 4646892"/>
                  <a:gd name="connsiteY0-2118" fmla="*/ 0 h 4890220"/>
                  <a:gd name="connsiteX1-2119" fmla="*/ 1152922 w 4646892"/>
                  <a:gd name="connsiteY1-2120" fmla="*/ 851425 h 4890220"/>
                  <a:gd name="connsiteX2-2121" fmla="*/ 1470555 w 4646892"/>
                  <a:gd name="connsiteY2-2122" fmla="*/ 1159433 h 4890220"/>
                  <a:gd name="connsiteX3-2123" fmla="*/ 1749688 w 4646892"/>
                  <a:gd name="connsiteY3-2124" fmla="*/ 1765825 h 4890220"/>
                  <a:gd name="connsiteX4-2125" fmla="*/ 2019195 w 4646892"/>
                  <a:gd name="connsiteY4-2126" fmla="*/ 1611821 h 4890220"/>
                  <a:gd name="connsiteX5-2127" fmla="*/ 2031160 w 4646892"/>
                  <a:gd name="connsiteY5-2128" fmla="*/ 1818697 h 4890220"/>
                  <a:gd name="connsiteX6-2129" fmla="*/ 1980360 w 4646892"/>
                  <a:gd name="connsiteY6-2130" fmla="*/ 1949930 h 4890220"/>
                  <a:gd name="connsiteX7-2131" fmla="*/ 2279077 w 4646892"/>
                  <a:gd name="connsiteY7-2132" fmla="*/ 2401092 h 4890220"/>
                  <a:gd name="connsiteX8-2133" fmla="*/ 2466488 w 4646892"/>
                  <a:gd name="connsiteY8-2134" fmla="*/ 2759857 h 4890220"/>
                  <a:gd name="connsiteX9-2135" fmla="*/ 2771082 w 4646892"/>
                  <a:gd name="connsiteY9-2136" fmla="*/ 3002843 h 4890220"/>
                  <a:gd name="connsiteX10-2137" fmla="*/ 3043917 w 4646892"/>
                  <a:gd name="connsiteY10-2138" fmla="*/ 3434950 h 4890220"/>
                  <a:gd name="connsiteX11-2139" fmla="*/ 3475240 w 4646892"/>
                  <a:gd name="connsiteY11-2140" fmla="*/ 3565251 h 4890220"/>
                  <a:gd name="connsiteX12-2141" fmla="*/ 3848361 w 4646892"/>
                  <a:gd name="connsiteY12-2142" fmla="*/ 3609830 h 4890220"/>
                  <a:gd name="connsiteX13-2143" fmla="*/ 4646892 w 4646892"/>
                  <a:gd name="connsiteY13-2144" fmla="*/ 4884410 h 4890220"/>
                  <a:gd name="connsiteX14-2145" fmla="*/ 3291240 w 4646892"/>
                  <a:gd name="connsiteY14-2146" fmla="*/ 4890220 h 4890220"/>
                  <a:gd name="connsiteX15-2147" fmla="*/ 3156349 w 4646892"/>
                  <a:gd name="connsiteY15-2148" fmla="*/ 4752161 h 4890220"/>
                  <a:gd name="connsiteX16-2149" fmla="*/ 2720002 w 4646892"/>
                  <a:gd name="connsiteY16-2150" fmla="*/ 4297432 h 4890220"/>
                  <a:gd name="connsiteX17-2151" fmla="*/ 2054614 w 4646892"/>
                  <a:gd name="connsiteY17-2152" fmla="*/ 4014970 h 4890220"/>
                  <a:gd name="connsiteX18-2153" fmla="*/ 945339 w 4646892"/>
                  <a:gd name="connsiteY18-2154" fmla="*/ 3856405 h 4890220"/>
                  <a:gd name="connsiteX19-2155" fmla="*/ 0 w 4646892"/>
                  <a:gd name="connsiteY19-2156" fmla="*/ 3274405 h 4890220"/>
                  <a:gd name="connsiteX20-2157" fmla="*/ 726186 w 4646892"/>
                  <a:gd name="connsiteY20-2158" fmla="*/ 2511590 h 4890220"/>
                  <a:gd name="connsiteX21-2159" fmla="*/ 1377850 w 4646892"/>
                  <a:gd name="connsiteY21-2160" fmla="*/ 1857227 h 4890220"/>
                  <a:gd name="connsiteX22-2161" fmla="*/ 965025 w 4646892"/>
                  <a:gd name="connsiteY22-2162" fmla="*/ 1611391 h 4890220"/>
                  <a:gd name="connsiteX23-2163" fmla="*/ 553559 w 4646892"/>
                  <a:gd name="connsiteY23-2164" fmla="*/ 1370482 h 4890220"/>
                  <a:gd name="connsiteX24-2165" fmla="*/ 344920 w 4646892"/>
                  <a:gd name="connsiteY24-2166" fmla="*/ 1062960 h 4890220"/>
                  <a:gd name="connsiteX25-2167" fmla="*/ 913758 w 4646892"/>
                  <a:gd name="connsiteY25-2168" fmla="*/ 0 h 4890220"/>
                  <a:gd name="connsiteX0-2169" fmla="*/ 913758 w 4646892"/>
                  <a:gd name="connsiteY0-2170" fmla="*/ 0 h 4890220"/>
                  <a:gd name="connsiteX1-2171" fmla="*/ 1152922 w 4646892"/>
                  <a:gd name="connsiteY1-2172" fmla="*/ 851425 h 4890220"/>
                  <a:gd name="connsiteX2-2173" fmla="*/ 1470555 w 4646892"/>
                  <a:gd name="connsiteY2-2174" fmla="*/ 1159433 h 4890220"/>
                  <a:gd name="connsiteX3-2175" fmla="*/ 1749688 w 4646892"/>
                  <a:gd name="connsiteY3-2176" fmla="*/ 1765825 h 4890220"/>
                  <a:gd name="connsiteX4-2177" fmla="*/ 2019195 w 4646892"/>
                  <a:gd name="connsiteY4-2178" fmla="*/ 1611821 h 4890220"/>
                  <a:gd name="connsiteX5-2179" fmla="*/ 2031160 w 4646892"/>
                  <a:gd name="connsiteY5-2180" fmla="*/ 1818697 h 4890220"/>
                  <a:gd name="connsiteX6-2181" fmla="*/ 1980360 w 4646892"/>
                  <a:gd name="connsiteY6-2182" fmla="*/ 1949930 h 4890220"/>
                  <a:gd name="connsiteX7-2183" fmla="*/ 2279077 w 4646892"/>
                  <a:gd name="connsiteY7-2184" fmla="*/ 2401092 h 4890220"/>
                  <a:gd name="connsiteX8-2185" fmla="*/ 2466488 w 4646892"/>
                  <a:gd name="connsiteY8-2186" fmla="*/ 2759857 h 4890220"/>
                  <a:gd name="connsiteX9-2187" fmla="*/ 2771082 w 4646892"/>
                  <a:gd name="connsiteY9-2188" fmla="*/ 3002843 h 4890220"/>
                  <a:gd name="connsiteX10-2189" fmla="*/ 3043917 w 4646892"/>
                  <a:gd name="connsiteY10-2190" fmla="*/ 3434950 h 4890220"/>
                  <a:gd name="connsiteX11-2191" fmla="*/ 3475240 w 4646892"/>
                  <a:gd name="connsiteY11-2192" fmla="*/ 3565251 h 4890220"/>
                  <a:gd name="connsiteX12-2193" fmla="*/ 3848361 w 4646892"/>
                  <a:gd name="connsiteY12-2194" fmla="*/ 3609830 h 4890220"/>
                  <a:gd name="connsiteX13-2195" fmla="*/ 4646892 w 4646892"/>
                  <a:gd name="connsiteY13-2196" fmla="*/ 4884410 h 4890220"/>
                  <a:gd name="connsiteX14-2197" fmla="*/ 3291240 w 4646892"/>
                  <a:gd name="connsiteY14-2198" fmla="*/ 4890220 h 4890220"/>
                  <a:gd name="connsiteX15-2199" fmla="*/ 3156349 w 4646892"/>
                  <a:gd name="connsiteY15-2200" fmla="*/ 4752161 h 4890220"/>
                  <a:gd name="connsiteX16-2201" fmla="*/ 2720002 w 4646892"/>
                  <a:gd name="connsiteY16-2202" fmla="*/ 4297432 h 4890220"/>
                  <a:gd name="connsiteX17-2203" fmla="*/ 2054614 w 4646892"/>
                  <a:gd name="connsiteY17-2204" fmla="*/ 4014970 h 4890220"/>
                  <a:gd name="connsiteX18-2205" fmla="*/ 945339 w 4646892"/>
                  <a:gd name="connsiteY18-2206" fmla="*/ 3856405 h 4890220"/>
                  <a:gd name="connsiteX19-2207" fmla="*/ 0 w 4646892"/>
                  <a:gd name="connsiteY19-2208" fmla="*/ 3274405 h 4890220"/>
                  <a:gd name="connsiteX20-2209" fmla="*/ 726186 w 4646892"/>
                  <a:gd name="connsiteY20-2210" fmla="*/ 2511590 h 4890220"/>
                  <a:gd name="connsiteX21-2211" fmla="*/ 1377850 w 4646892"/>
                  <a:gd name="connsiteY21-2212" fmla="*/ 1857227 h 4890220"/>
                  <a:gd name="connsiteX22-2213" fmla="*/ 965025 w 4646892"/>
                  <a:gd name="connsiteY22-2214" fmla="*/ 1611391 h 4890220"/>
                  <a:gd name="connsiteX23-2215" fmla="*/ 553559 w 4646892"/>
                  <a:gd name="connsiteY23-2216" fmla="*/ 1370482 h 4890220"/>
                  <a:gd name="connsiteX24-2217" fmla="*/ 344920 w 4646892"/>
                  <a:gd name="connsiteY24-2218" fmla="*/ 1062960 h 4890220"/>
                  <a:gd name="connsiteX25-2219" fmla="*/ 913758 w 4646892"/>
                  <a:gd name="connsiteY25-2220" fmla="*/ 0 h 4890220"/>
                  <a:gd name="connsiteX0-2221" fmla="*/ 913758 w 4646892"/>
                  <a:gd name="connsiteY0-2222" fmla="*/ 0 h 4890220"/>
                  <a:gd name="connsiteX1-2223" fmla="*/ 1152922 w 4646892"/>
                  <a:gd name="connsiteY1-2224" fmla="*/ 851425 h 4890220"/>
                  <a:gd name="connsiteX2-2225" fmla="*/ 1470555 w 4646892"/>
                  <a:gd name="connsiteY2-2226" fmla="*/ 1159433 h 4890220"/>
                  <a:gd name="connsiteX3-2227" fmla="*/ 1749688 w 4646892"/>
                  <a:gd name="connsiteY3-2228" fmla="*/ 1765825 h 4890220"/>
                  <a:gd name="connsiteX4-2229" fmla="*/ 2019195 w 4646892"/>
                  <a:gd name="connsiteY4-2230" fmla="*/ 1611821 h 4890220"/>
                  <a:gd name="connsiteX5-2231" fmla="*/ 2031160 w 4646892"/>
                  <a:gd name="connsiteY5-2232" fmla="*/ 1818697 h 4890220"/>
                  <a:gd name="connsiteX6-2233" fmla="*/ 1980360 w 4646892"/>
                  <a:gd name="connsiteY6-2234" fmla="*/ 1949930 h 4890220"/>
                  <a:gd name="connsiteX7-2235" fmla="*/ 2279077 w 4646892"/>
                  <a:gd name="connsiteY7-2236" fmla="*/ 2401092 h 4890220"/>
                  <a:gd name="connsiteX8-2237" fmla="*/ 2466488 w 4646892"/>
                  <a:gd name="connsiteY8-2238" fmla="*/ 2759857 h 4890220"/>
                  <a:gd name="connsiteX9-2239" fmla="*/ 2771082 w 4646892"/>
                  <a:gd name="connsiteY9-2240" fmla="*/ 3002843 h 4890220"/>
                  <a:gd name="connsiteX10-2241" fmla="*/ 3043917 w 4646892"/>
                  <a:gd name="connsiteY10-2242" fmla="*/ 3434950 h 4890220"/>
                  <a:gd name="connsiteX11-2243" fmla="*/ 3475240 w 4646892"/>
                  <a:gd name="connsiteY11-2244" fmla="*/ 3565251 h 4890220"/>
                  <a:gd name="connsiteX12-2245" fmla="*/ 3848361 w 4646892"/>
                  <a:gd name="connsiteY12-2246" fmla="*/ 3609830 h 4890220"/>
                  <a:gd name="connsiteX13-2247" fmla="*/ 4646892 w 4646892"/>
                  <a:gd name="connsiteY13-2248" fmla="*/ 4884410 h 4890220"/>
                  <a:gd name="connsiteX14-2249" fmla="*/ 3291240 w 4646892"/>
                  <a:gd name="connsiteY14-2250" fmla="*/ 4890220 h 4890220"/>
                  <a:gd name="connsiteX15-2251" fmla="*/ 3156349 w 4646892"/>
                  <a:gd name="connsiteY15-2252" fmla="*/ 4752161 h 4890220"/>
                  <a:gd name="connsiteX16-2253" fmla="*/ 2720002 w 4646892"/>
                  <a:gd name="connsiteY16-2254" fmla="*/ 4297432 h 4890220"/>
                  <a:gd name="connsiteX17-2255" fmla="*/ 2054614 w 4646892"/>
                  <a:gd name="connsiteY17-2256" fmla="*/ 4014970 h 4890220"/>
                  <a:gd name="connsiteX18-2257" fmla="*/ 945339 w 4646892"/>
                  <a:gd name="connsiteY18-2258" fmla="*/ 3856405 h 4890220"/>
                  <a:gd name="connsiteX19-2259" fmla="*/ 0 w 4646892"/>
                  <a:gd name="connsiteY19-2260" fmla="*/ 3274405 h 4890220"/>
                  <a:gd name="connsiteX20-2261" fmla="*/ 726186 w 4646892"/>
                  <a:gd name="connsiteY20-2262" fmla="*/ 2511590 h 4890220"/>
                  <a:gd name="connsiteX21-2263" fmla="*/ 1377850 w 4646892"/>
                  <a:gd name="connsiteY21-2264" fmla="*/ 1857227 h 4890220"/>
                  <a:gd name="connsiteX22-2265" fmla="*/ 965025 w 4646892"/>
                  <a:gd name="connsiteY22-2266" fmla="*/ 1611391 h 4890220"/>
                  <a:gd name="connsiteX23-2267" fmla="*/ 553559 w 4646892"/>
                  <a:gd name="connsiteY23-2268" fmla="*/ 1370482 h 4890220"/>
                  <a:gd name="connsiteX24-2269" fmla="*/ 877750 w 4646892"/>
                  <a:gd name="connsiteY24-2270" fmla="*/ 1091571 h 4890220"/>
                  <a:gd name="connsiteX25-2271" fmla="*/ 344920 w 4646892"/>
                  <a:gd name="connsiteY25-2272" fmla="*/ 1062960 h 4890220"/>
                  <a:gd name="connsiteX26" fmla="*/ 913758 w 4646892"/>
                  <a:gd name="connsiteY26" fmla="*/ 0 h 48902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77" y="connsiteY19-78"/>
                  </a:cxn>
                  <a:cxn ang="0">
                    <a:pos x="connsiteX20-239" y="connsiteY20-240"/>
                  </a:cxn>
                  <a:cxn ang="0">
                    <a:pos x="connsiteX21-283" y="connsiteY21-284"/>
                  </a:cxn>
                  <a:cxn ang="0">
                    <a:pos x="connsiteX22-461" y="connsiteY22-462"/>
                  </a:cxn>
                  <a:cxn ang="0">
                    <a:pos x="connsiteX23-647" y="connsiteY23-648"/>
                  </a:cxn>
                  <a:cxn ang="0">
                    <a:pos x="connsiteX24-889" y="connsiteY24-890"/>
                  </a:cxn>
                  <a:cxn ang="0">
                    <a:pos x="connsiteX25-1491" y="connsiteY25-1492"/>
                  </a:cxn>
                  <a:cxn ang="0">
                    <a:pos x="connsiteX26" y="connsiteY26"/>
                  </a:cxn>
                </a:cxnLst>
                <a:rect l="l" t="t" r="r" b="b"/>
                <a:pathLst>
                  <a:path w="4646892" h="4890220">
                    <a:moveTo>
                      <a:pt x="913758" y="0"/>
                    </a:moveTo>
                    <a:lnTo>
                      <a:pt x="1152922" y="851425"/>
                    </a:lnTo>
                    <a:lnTo>
                      <a:pt x="1470555" y="1159433"/>
                    </a:lnTo>
                    <a:lnTo>
                      <a:pt x="1749688" y="1765825"/>
                    </a:lnTo>
                    <a:lnTo>
                      <a:pt x="2019195" y="1611821"/>
                    </a:lnTo>
                    <a:cubicBezTo>
                      <a:pt x="2021772" y="1675841"/>
                      <a:pt x="2026466" y="1758910"/>
                      <a:pt x="2031160" y="1818697"/>
                    </a:cubicBezTo>
                    <a:cubicBezTo>
                      <a:pt x="2043154" y="1846919"/>
                      <a:pt x="1968366" y="1921708"/>
                      <a:pt x="1980360" y="1949930"/>
                    </a:cubicBezTo>
                    <a:lnTo>
                      <a:pt x="2279077" y="2401092"/>
                    </a:lnTo>
                    <a:lnTo>
                      <a:pt x="2466488" y="2759857"/>
                    </a:lnTo>
                    <a:lnTo>
                      <a:pt x="2771082" y="3002843"/>
                    </a:lnTo>
                    <a:cubicBezTo>
                      <a:pt x="2894671" y="3102576"/>
                      <a:pt x="2920328" y="3335217"/>
                      <a:pt x="3043917" y="3434950"/>
                    </a:cubicBezTo>
                    <a:lnTo>
                      <a:pt x="3475240" y="3565251"/>
                    </a:lnTo>
                    <a:cubicBezTo>
                      <a:pt x="3524999" y="3622082"/>
                      <a:pt x="3798602" y="3552999"/>
                      <a:pt x="3848361" y="3609830"/>
                    </a:cubicBezTo>
                    <a:lnTo>
                      <a:pt x="4646892" y="4884410"/>
                    </a:lnTo>
                    <a:lnTo>
                      <a:pt x="3291240" y="4890220"/>
                    </a:lnTo>
                    <a:lnTo>
                      <a:pt x="3156349" y="4752161"/>
                    </a:lnTo>
                    <a:cubicBezTo>
                      <a:pt x="3111065" y="4608147"/>
                      <a:pt x="3072723" y="4793685"/>
                      <a:pt x="2720002" y="4297432"/>
                    </a:cubicBezTo>
                    <a:cubicBezTo>
                      <a:pt x="2667876" y="4287484"/>
                      <a:pt x="2106740" y="4024918"/>
                      <a:pt x="2054614" y="4014970"/>
                    </a:cubicBezTo>
                    <a:lnTo>
                      <a:pt x="945339" y="3856405"/>
                    </a:lnTo>
                    <a:lnTo>
                      <a:pt x="0" y="3274405"/>
                    </a:lnTo>
                    <a:cubicBezTo>
                      <a:pt x="371861" y="3026350"/>
                      <a:pt x="354325" y="2759645"/>
                      <a:pt x="726186" y="2511590"/>
                    </a:cubicBezTo>
                    <a:lnTo>
                      <a:pt x="1377850" y="1857227"/>
                    </a:lnTo>
                    <a:lnTo>
                      <a:pt x="965025" y="1611391"/>
                    </a:lnTo>
                    <a:lnTo>
                      <a:pt x="553559" y="1370482"/>
                    </a:lnTo>
                    <a:cubicBezTo>
                      <a:pt x="520165" y="1316373"/>
                      <a:pt x="911144" y="1145680"/>
                      <a:pt x="877750" y="1091571"/>
                    </a:cubicBezTo>
                    <a:lnTo>
                      <a:pt x="344920" y="1062960"/>
                    </a:lnTo>
                    <a:lnTo>
                      <a:pt x="913758" y="0"/>
                    </a:lnTo>
                    <a:close/>
                  </a:path>
                </a:pathLst>
              </a:custGeom>
              <a:solidFill>
                <a:schemeClr val="bg1">
                  <a:lumMod val="95000"/>
                </a:schemeClr>
              </a:solidFill>
              <a:ln w="6350" cap="flat" cmpd="sng" algn="ctr">
                <a:solidFill>
                  <a:srgbClr val="DCDCDC"/>
                </a:solidFill>
                <a:prstDash val="solid"/>
                <a:round/>
                <a:headEnd type="none" w="med" len="med"/>
                <a:tailEnd type="none" w="med" len="med"/>
              </a:ln>
            </p:spPr>
            <p:txBody>
              <a:bodyPr/>
              <a:lstStyle/>
              <a:p>
                <a:endParaRPr lang="en-US">
                  <a:solidFill>
                    <a:schemeClr val="tx1"/>
                  </a:solidFill>
                </a:endParaRPr>
              </a:p>
            </p:txBody>
          </p:sp>
          <p:sp>
            <p:nvSpPr>
              <p:cNvPr id="126" name="任意多边形: 形状 125"/>
              <p:cNvSpPr/>
              <p:nvPr/>
            </p:nvSpPr>
            <p:spPr bwMode="auto">
              <a:xfrm>
                <a:off x="0" y="5887127"/>
                <a:ext cx="6094645" cy="380252"/>
              </a:xfrm>
              <a:custGeom>
                <a:avLst/>
                <a:gdLst>
                  <a:gd name="connsiteX0" fmla="*/ 2964332 w 6094645"/>
                  <a:gd name="connsiteY0" fmla="*/ 0 h 380252"/>
                  <a:gd name="connsiteX1" fmla="*/ 2870890 w 6094645"/>
                  <a:gd name="connsiteY1" fmla="*/ 148432 h 380252"/>
                  <a:gd name="connsiteX2" fmla="*/ 3475344 w 6094645"/>
                  <a:gd name="connsiteY2" fmla="*/ 246425 h 380252"/>
                  <a:gd name="connsiteX3" fmla="*/ 6094645 w 6094645"/>
                  <a:gd name="connsiteY3" fmla="*/ 371800 h 380252"/>
                  <a:gd name="connsiteX4" fmla="*/ 0 w 6094645"/>
                  <a:gd name="connsiteY4" fmla="*/ 380252 h 380252"/>
                  <a:gd name="connsiteX5" fmla="*/ 0 w 6094645"/>
                  <a:gd name="connsiteY5" fmla="*/ 363324 h 38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4645" h="380252">
                    <a:moveTo>
                      <a:pt x="2964332" y="0"/>
                    </a:moveTo>
                    <a:lnTo>
                      <a:pt x="2870890" y="148432"/>
                    </a:lnTo>
                    <a:lnTo>
                      <a:pt x="3475344" y="246425"/>
                    </a:lnTo>
                    <a:lnTo>
                      <a:pt x="6094645" y="371800"/>
                    </a:lnTo>
                    <a:lnTo>
                      <a:pt x="0" y="380252"/>
                    </a:lnTo>
                    <a:lnTo>
                      <a:pt x="0" y="363324"/>
                    </a:lnTo>
                    <a:close/>
                  </a:path>
                </a:pathLst>
              </a:custGeom>
              <a:solidFill>
                <a:schemeClr val="tx1">
                  <a:lumMod val="40000"/>
                  <a:lumOff val="60000"/>
                </a:schemeClr>
              </a:solidFill>
              <a:ln>
                <a:noFill/>
              </a:ln>
            </p:spPr>
            <p:txBody>
              <a:bodyPr vert="horz" wrap="square" lIns="91440" tIns="45720" rIns="91440" bIns="45720" numCol="1" anchor="t" anchorCtr="0" compatLnSpc="1">
                <a:noAutofit/>
              </a:bodyPr>
              <a:lstStyle/>
              <a:p>
                <a:endParaRPr lang="en-US"/>
              </a:p>
            </p:txBody>
          </p:sp>
          <p:sp>
            <p:nvSpPr>
              <p:cNvPr id="127" name="Freeform 114"/>
              <p:cNvSpPr/>
              <p:nvPr/>
            </p:nvSpPr>
            <p:spPr>
              <a:xfrm>
                <a:off x="1679858" y="1773251"/>
                <a:ext cx="1375921" cy="1072259"/>
              </a:xfrm>
              <a:custGeom>
                <a:avLst/>
                <a:gdLst>
                  <a:gd name="connsiteX0" fmla="*/ 1061354 w 1641628"/>
                  <a:gd name="connsiteY0" fmla="*/ 0 h 1392808"/>
                  <a:gd name="connsiteX1" fmla="*/ 1301986 w 1641628"/>
                  <a:gd name="connsiteY1" fmla="*/ 856649 h 1392808"/>
                  <a:gd name="connsiteX2" fmla="*/ 1619619 w 1641628"/>
                  <a:gd name="connsiteY2" fmla="*/ 1164657 h 1392808"/>
                  <a:gd name="connsiteX3" fmla="*/ 1641628 w 1641628"/>
                  <a:gd name="connsiteY3" fmla="*/ 1212471 h 1392808"/>
                  <a:gd name="connsiteX4" fmla="*/ 1310274 w 1641628"/>
                  <a:gd name="connsiteY4" fmla="*/ 1291208 h 1392808"/>
                  <a:gd name="connsiteX5" fmla="*/ 1073207 w 1641628"/>
                  <a:gd name="connsiteY5" fmla="*/ 1079541 h 1392808"/>
                  <a:gd name="connsiteX6" fmla="*/ 683741 w 1641628"/>
                  <a:gd name="connsiteY6" fmla="*/ 1392808 h 1392808"/>
                  <a:gd name="connsiteX7" fmla="*/ 514407 w 1641628"/>
                  <a:gd name="connsiteY7" fmla="*/ 1096474 h 1392808"/>
                  <a:gd name="connsiteX8" fmla="*/ 0 w 1641628"/>
                  <a:gd name="connsiteY8" fmla="*/ 1181201 h 1392808"/>
                  <a:gd name="connsiteX9" fmla="*/ 50701 w 1641628"/>
                  <a:gd name="connsiteY9" fmla="*/ 1097281 h 1392808"/>
                  <a:gd name="connsiteX10" fmla="*/ 387586 w 1641628"/>
                  <a:gd name="connsiteY10" fmla="*/ 269508 h 1392808"/>
                  <a:gd name="connsiteX0-1" fmla="*/ 1061354 w 1641628"/>
                  <a:gd name="connsiteY0-2" fmla="*/ 0 h 1291208"/>
                  <a:gd name="connsiteX1-3" fmla="*/ 1301986 w 1641628"/>
                  <a:gd name="connsiteY1-4" fmla="*/ 856649 h 1291208"/>
                  <a:gd name="connsiteX2-5" fmla="*/ 1619619 w 1641628"/>
                  <a:gd name="connsiteY2-6" fmla="*/ 1164657 h 1291208"/>
                  <a:gd name="connsiteX3-7" fmla="*/ 1641628 w 1641628"/>
                  <a:gd name="connsiteY3-8" fmla="*/ 1212471 h 1291208"/>
                  <a:gd name="connsiteX4-9" fmla="*/ 1310274 w 1641628"/>
                  <a:gd name="connsiteY4-10" fmla="*/ 1291208 h 1291208"/>
                  <a:gd name="connsiteX5-11" fmla="*/ 1073207 w 1641628"/>
                  <a:gd name="connsiteY5-12" fmla="*/ 1079541 h 1291208"/>
                  <a:gd name="connsiteX6-13" fmla="*/ 954221 w 1641628"/>
                  <a:gd name="connsiteY6-14" fmla="*/ 1154972 h 1291208"/>
                  <a:gd name="connsiteX7-15" fmla="*/ 514407 w 1641628"/>
                  <a:gd name="connsiteY7-16" fmla="*/ 1096474 h 1291208"/>
                  <a:gd name="connsiteX8-17" fmla="*/ 0 w 1641628"/>
                  <a:gd name="connsiteY8-18" fmla="*/ 1181201 h 1291208"/>
                  <a:gd name="connsiteX9-19" fmla="*/ 50701 w 1641628"/>
                  <a:gd name="connsiteY9-20" fmla="*/ 1097281 h 1291208"/>
                  <a:gd name="connsiteX10-21" fmla="*/ 387586 w 1641628"/>
                  <a:gd name="connsiteY10-22" fmla="*/ 269508 h 1291208"/>
                  <a:gd name="connsiteX11" fmla="*/ 1061354 w 1641628"/>
                  <a:gd name="connsiteY11" fmla="*/ 0 h 1291208"/>
                  <a:gd name="connsiteX0-23" fmla="*/ 1061354 w 1641628"/>
                  <a:gd name="connsiteY0-24" fmla="*/ 0 h 1212471"/>
                  <a:gd name="connsiteX1-25" fmla="*/ 1301986 w 1641628"/>
                  <a:gd name="connsiteY1-26" fmla="*/ 856649 h 1212471"/>
                  <a:gd name="connsiteX2-27" fmla="*/ 1619619 w 1641628"/>
                  <a:gd name="connsiteY2-28" fmla="*/ 1164657 h 1212471"/>
                  <a:gd name="connsiteX3-29" fmla="*/ 1641628 w 1641628"/>
                  <a:gd name="connsiteY3-30" fmla="*/ 1212471 h 1212471"/>
                  <a:gd name="connsiteX4-31" fmla="*/ 1275299 w 1641628"/>
                  <a:gd name="connsiteY4-32" fmla="*/ 1158300 h 1212471"/>
                  <a:gd name="connsiteX5-33" fmla="*/ 1073207 w 1641628"/>
                  <a:gd name="connsiteY5-34" fmla="*/ 1079541 h 1212471"/>
                  <a:gd name="connsiteX6-35" fmla="*/ 954221 w 1641628"/>
                  <a:gd name="connsiteY6-36" fmla="*/ 1154972 h 1212471"/>
                  <a:gd name="connsiteX7-37" fmla="*/ 514407 w 1641628"/>
                  <a:gd name="connsiteY7-38" fmla="*/ 1096474 h 1212471"/>
                  <a:gd name="connsiteX8-39" fmla="*/ 0 w 1641628"/>
                  <a:gd name="connsiteY8-40" fmla="*/ 1181201 h 1212471"/>
                  <a:gd name="connsiteX9-41" fmla="*/ 50701 w 1641628"/>
                  <a:gd name="connsiteY9-42" fmla="*/ 1097281 h 1212471"/>
                  <a:gd name="connsiteX10-43" fmla="*/ 387586 w 1641628"/>
                  <a:gd name="connsiteY10-44" fmla="*/ 269508 h 1212471"/>
                  <a:gd name="connsiteX11-45" fmla="*/ 1061354 w 1641628"/>
                  <a:gd name="connsiteY11-46" fmla="*/ 0 h 1212471"/>
                  <a:gd name="connsiteX0-47" fmla="*/ 1061354 w 1641628"/>
                  <a:gd name="connsiteY0-48" fmla="*/ 0 h 1212471"/>
                  <a:gd name="connsiteX1-49" fmla="*/ 1301986 w 1641628"/>
                  <a:gd name="connsiteY1-50" fmla="*/ 856649 h 1212471"/>
                  <a:gd name="connsiteX2-51" fmla="*/ 1619619 w 1641628"/>
                  <a:gd name="connsiteY2-52" fmla="*/ 1164657 h 1212471"/>
                  <a:gd name="connsiteX3-53" fmla="*/ 1641628 w 1641628"/>
                  <a:gd name="connsiteY3-54" fmla="*/ 1212471 h 1212471"/>
                  <a:gd name="connsiteX4-55" fmla="*/ 1591087 w 1641628"/>
                  <a:gd name="connsiteY4-56" fmla="*/ 1199183 h 1212471"/>
                  <a:gd name="connsiteX5-57" fmla="*/ 1275299 w 1641628"/>
                  <a:gd name="connsiteY5-58" fmla="*/ 1158300 h 1212471"/>
                  <a:gd name="connsiteX6-59" fmla="*/ 1073207 w 1641628"/>
                  <a:gd name="connsiteY6-60" fmla="*/ 1079541 h 1212471"/>
                  <a:gd name="connsiteX7-61" fmla="*/ 954221 w 1641628"/>
                  <a:gd name="connsiteY7-62" fmla="*/ 1154972 h 1212471"/>
                  <a:gd name="connsiteX8-63" fmla="*/ 514407 w 1641628"/>
                  <a:gd name="connsiteY8-64" fmla="*/ 1096474 h 1212471"/>
                  <a:gd name="connsiteX9-65" fmla="*/ 0 w 1641628"/>
                  <a:gd name="connsiteY9-66" fmla="*/ 1181201 h 1212471"/>
                  <a:gd name="connsiteX10-67" fmla="*/ 50701 w 1641628"/>
                  <a:gd name="connsiteY10-68" fmla="*/ 1097281 h 1212471"/>
                  <a:gd name="connsiteX11-69" fmla="*/ 387586 w 1641628"/>
                  <a:gd name="connsiteY11-70" fmla="*/ 269508 h 1212471"/>
                  <a:gd name="connsiteX12" fmla="*/ 1061354 w 1641628"/>
                  <a:gd name="connsiteY12" fmla="*/ 0 h 1212471"/>
                  <a:gd name="connsiteX0-71" fmla="*/ 1061354 w 1619619"/>
                  <a:gd name="connsiteY0-72" fmla="*/ 0 h 1199217"/>
                  <a:gd name="connsiteX1-73" fmla="*/ 1301986 w 1619619"/>
                  <a:gd name="connsiteY1-74" fmla="*/ 856649 h 1199217"/>
                  <a:gd name="connsiteX2-75" fmla="*/ 1619619 w 1619619"/>
                  <a:gd name="connsiteY2-76" fmla="*/ 1164657 h 1199217"/>
                  <a:gd name="connsiteX3-77" fmla="*/ 1515715 w 1619619"/>
                  <a:gd name="connsiteY3-78" fmla="*/ 1107544 h 1199217"/>
                  <a:gd name="connsiteX4-79" fmla="*/ 1591087 w 1619619"/>
                  <a:gd name="connsiteY4-80" fmla="*/ 1199183 h 1199217"/>
                  <a:gd name="connsiteX5-81" fmla="*/ 1275299 w 1619619"/>
                  <a:gd name="connsiteY5-82" fmla="*/ 1158300 h 1199217"/>
                  <a:gd name="connsiteX6-83" fmla="*/ 1073207 w 1619619"/>
                  <a:gd name="connsiteY6-84" fmla="*/ 1079541 h 1199217"/>
                  <a:gd name="connsiteX7-85" fmla="*/ 954221 w 1619619"/>
                  <a:gd name="connsiteY7-86" fmla="*/ 1154972 h 1199217"/>
                  <a:gd name="connsiteX8-87" fmla="*/ 514407 w 1619619"/>
                  <a:gd name="connsiteY8-88" fmla="*/ 1096474 h 1199217"/>
                  <a:gd name="connsiteX9-89" fmla="*/ 0 w 1619619"/>
                  <a:gd name="connsiteY9-90" fmla="*/ 1181201 h 1199217"/>
                  <a:gd name="connsiteX10-91" fmla="*/ 50701 w 1619619"/>
                  <a:gd name="connsiteY10-92" fmla="*/ 1097281 h 1199217"/>
                  <a:gd name="connsiteX11-93" fmla="*/ 387586 w 1619619"/>
                  <a:gd name="connsiteY11-94" fmla="*/ 269508 h 1199217"/>
                  <a:gd name="connsiteX12-95" fmla="*/ 1061354 w 1619619"/>
                  <a:gd name="connsiteY12-96" fmla="*/ 0 h 1199217"/>
                  <a:gd name="connsiteX0-97" fmla="*/ 1061354 w 1619619"/>
                  <a:gd name="connsiteY0-98" fmla="*/ 0 h 1181201"/>
                  <a:gd name="connsiteX1-99" fmla="*/ 1301986 w 1619619"/>
                  <a:gd name="connsiteY1-100" fmla="*/ 856649 h 1181201"/>
                  <a:gd name="connsiteX2-101" fmla="*/ 1619619 w 1619619"/>
                  <a:gd name="connsiteY2-102" fmla="*/ 1164657 h 1181201"/>
                  <a:gd name="connsiteX3-103" fmla="*/ 1515715 w 1619619"/>
                  <a:gd name="connsiteY3-104" fmla="*/ 1107544 h 1181201"/>
                  <a:gd name="connsiteX4-105" fmla="*/ 1275299 w 1619619"/>
                  <a:gd name="connsiteY4-106" fmla="*/ 1158300 h 1181201"/>
                  <a:gd name="connsiteX5-107" fmla="*/ 1073207 w 1619619"/>
                  <a:gd name="connsiteY5-108" fmla="*/ 1079541 h 1181201"/>
                  <a:gd name="connsiteX6-109" fmla="*/ 954221 w 1619619"/>
                  <a:gd name="connsiteY6-110" fmla="*/ 1154972 h 1181201"/>
                  <a:gd name="connsiteX7-111" fmla="*/ 514407 w 1619619"/>
                  <a:gd name="connsiteY7-112" fmla="*/ 1096474 h 1181201"/>
                  <a:gd name="connsiteX8-113" fmla="*/ 0 w 1619619"/>
                  <a:gd name="connsiteY8-114" fmla="*/ 1181201 h 1181201"/>
                  <a:gd name="connsiteX9-115" fmla="*/ 50701 w 1619619"/>
                  <a:gd name="connsiteY9-116" fmla="*/ 1097281 h 1181201"/>
                  <a:gd name="connsiteX10-117" fmla="*/ 387586 w 1619619"/>
                  <a:gd name="connsiteY10-118" fmla="*/ 269508 h 1181201"/>
                  <a:gd name="connsiteX11-119" fmla="*/ 1061354 w 1619619"/>
                  <a:gd name="connsiteY11-120" fmla="*/ 0 h 1181201"/>
                  <a:gd name="connsiteX0-121" fmla="*/ 1061354 w 1515715"/>
                  <a:gd name="connsiteY0-122" fmla="*/ 0 h 1181201"/>
                  <a:gd name="connsiteX1-123" fmla="*/ 1301986 w 1515715"/>
                  <a:gd name="connsiteY1-124" fmla="*/ 856649 h 1181201"/>
                  <a:gd name="connsiteX2-125" fmla="*/ 1515715 w 1515715"/>
                  <a:gd name="connsiteY2-126" fmla="*/ 1107544 h 1181201"/>
                  <a:gd name="connsiteX3-127" fmla="*/ 1275299 w 1515715"/>
                  <a:gd name="connsiteY3-128" fmla="*/ 1158300 h 1181201"/>
                  <a:gd name="connsiteX4-129" fmla="*/ 1073207 w 1515715"/>
                  <a:gd name="connsiteY4-130" fmla="*/ 1079541 h 1181201"/>
                  <a:gd name="connsiteX5-131" fmla="*/ 954221 w 1515715"/>
                  <a:gd name="connsiteY5-132" fmla="*/ 1154972 h 1181201"/>
                  <a:gd name="connsiteX6-133" fmla="*/ 514407 w 1515715"/>
                  <a:gd name="connsiteY6-134" fmla="*/ 1096474 h 1181201"/>
                  <a:gd name="connsiteX7-135" fmla="*/ 0 w 1515715"/>
                  <a:gd name="connsiteY7-136" fmla="*/ 1181201 h 1181201"/>
                  <a:gd name="connsiteX8-137" fmla="*/ 50701 w 1515715"/>
                  <a:gd name="connsiteY8-138" fmla="*/ 1097281 h 1181201"/>
                  <a:gd name="connsiteX9-139" fmla="*/ 387586 w 1515715"/>
                  <a:gd name="connsiteY9-140" fmla="*/ 269508 h 1181201"/>
                  <a:gd name="connsiteX10-141" fmla="*/ 1061354 w 1515715"/>
                  <a:gd name="connsiteY10-142" fmla="*/ 0 h 11812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1515715" h="1181201">
                    <a:moveTo>
                      <a:pt x="1061354" y="0"/>
                    </a:moveTo>
                    <a:lnTo>
                      <a:pt x="1301986" y="856649"/>
                    </a:lnTo>
                    <a:lnTo>
                      <a:pt x="1515715" y="1107544"/>
                    </a:lnTo>
                    <a:cubicBezTo>
                      <a:pt x="1458328" y="1106485"/>
                      <a:pt x="1349050" y="1162967"/>
                      <a:pt x="1275299" y="1158300"/>
                    </a:cubicBezTo>
                    <a:lnTo>
                      <a:pt x="1073207" y="1079541"/>
                    </a:lnTo>
                    <a:lnTo>
                      <a:pt x="954221" y="1154972"/>
                    </a:lnTo>
                    <a:lnTo>
                      <a:pt x="514407" y="1096474"/>
                    </a:lnTo>
                    <a:lnTo>
                      <a:pt x="0" y="1181201"/>
                    </a:lnTo>
                    <a:lnTo>
                      <a:pt x="50701" y="1097281"/>
                    </a:lnTo>
                    <a:lnTo>
                      <a:pt x="387586" y="269508"/>
                    </a:lnTo>
                    <a:lnTo>
                      <a:pt x="1061354" y="0"/>
                    </a:lnTo>
                    <a:close/>
                  </a:path>
                </a:pathLst>
              </a:custGeom>
              <a:solidFill>
                <a:schemeClr val="bg1">
                  <a:lumMod val="95000"/>
                </a:schemeClr>
              </a:solidFill>
              <a:ln w="9525" cap="flat" cmpd="sng" algn="ctr">
                <a:solidFill>
                  <a:srgbClr val="D9D9D9"/>
                </a:solidFill>
                <a:prstDash val="solid"/>
                <a:round/>
                <a:headEnd type="none" w="med" len="med"/>
                <a:tailEnd type="none" w="med" len="med"/>
              </a:ln>
            </p:spPr>
            <p:txBody>
              <a:bodyPr/>
              <a:lstStyle/>
              <a:p>
                <a:endParaRPr lang="en-US" dirty="0"/>
              </a:p>
            </p:txBody>
          </p:sp>
          <p:sp>
            <p:nvSpPr>
              <p:cNvPr id="128" name="Freeform 116"/>
              <p:cNvSpPr/>
              <p:nvPr/>
            </p:nvSpPr>
            <p:spPr>
              <a:xfrm>
                <a:off x="2416147" y="1807439"/>
                <a:ext cx="667868" cy="1040378"/>
              </a:xfrm>
              <a:custGeom>
                <a:avLst/>
                <a:gdLst>
                  <a:gd name="connsiteX0" fmla="*/ 251725 w 830532"/>
                  <a:gd name="connsiteY0" fmla="*/ 0 h 1285984"/>
                  <a:gd name="connsiteX1" fmla="*/ 490889 w 830532"/>
                  <a:gd name="connsiteY1" fmla="*/ 851425 h 1285984"/>
                  <a:gd name="connsiteX2" fmla="*/ 808522 w 830532"/>
                  <a:gd name="connsiteY2" fmla="*/ 1159433 h 1285984"/>
                  <a:gd name="connsiteX3" fmla="*/ 830532 w 830532"/>
                  <a:gd name="connsiteY3" fmla="*/ 1207247 h 1285984"/>
                  <a:gd name="connsiteX4" fmla="*/ 499177 w 830532"/>
                  <a:gd name="connsiteY4" fmla="*/ 1285984 h 1285984"/>
                  <a:gd name="connsiteX5" fmla="*/ 262110 w 830532"/>
                  <a:gd name="connsiteY5" fmla="*/ 1074317 h 1285984"/>
                  <a:gd name="connsiteX6" fmla="*/ 250148 w 830532"/>
                  <a:gd name="connsiteY6" fmla="*/ 1083939 h 1285984"/>
                  <a:gd name="connsiteX7" fmla="*/ 0 w 830532"/>
                  <a:gd name="connsiteY7" fmla="*/ 755172 h 1285984"/>
                  <a:gd name="connsiteX0-1" fmla="*/ 251725 w 830532"/>
                  <a:gd name="connsiteY0-2" fmla="*/ 0 h 1285984"/>
                  <a:gd name="connsiteX1-3" fmla="*/ 490889 w 830532"/>
                  <a:gd name="connsiteY1-4" fmla="*/ 851425 h 1285984"/>
                  <a:gd name="connsiteX2-5" fmla="*/ 830532 w 830532"/>
                  <a:gd name="connsiteY2-6" fmla="*/ 1207247 h 1285984"/>
                  <a:gd name="connsiteX3-7" fmla="*/ 499177 w 830532"/>
                  <a:gd name="connsiteY3-8" fmla="*/ 1285984 h 1285984"/>
                  <a:gd name="connsiteX4-9" fmla="*/ 262110 w 830532"/>
                  <a:gd name="connsiteY4-10" fmla="*/ 1074317 h 1285984"/>
                  <a:gd name="connsiteX5-11" fmla="*/ 250148 w 830532"/>
                  <a:gd name="connsiteY5-12" fmla="*/ 1083939 h 1285984"/>
                  <a:gd name="connsiteX6-13" fmla="*/ 0 w 830532"/>
                  <a:gd name="connsiteY6-14" fmla="*/ 755172 h 1285984"/>
                  <a:gd name="connsiteX7-15" fmla="*/ 251725 w 830532"/>
                  <a:gd name="connsiteY7-16" fmla="*/ 0 h 1285984"/>
                  <a:gd name="connsiteX0-17" fmla="*/ 251725 w 868632"/>
                  <a:gd name="connsiteY0-18" fmla="*/ 0 h 1285984"/>
                  <a:gd name="connsiteX1-19" fmla="*/ 490889 w 868632"/>
                  <a:gd name="connsiteY1-20" fmla="*/ 851425 h 1285984"/>
                  <a:gd name="connsiteX2-21" fmla="*/ 868632 w 868632"/>
                  <a:gd name="connsiteY2-22" fmla="*/ 1177613 h 1285984"/>
                  <a:gd name="connsiteX3-23" fmla="*/ 499177 w 868632"/>
                  <a:gd name="connsiteY3-24" fmla="*/ 1285984 h 1285984"/>
                  <a:gd name="connsiteX4-25" fmla="*/ 262110 w 868632"/>
                  <a:gd name="connsiteY4-26" fmla="*/ 1074317 h 1285984"/>
                  <a:gd name="connsiteX5-27" fmla="*/ 250148 w 868632"/>
                  <a:gd name="connsiteY5-28" fmla="*/ 1083939 h 1285984"/>
                  <a:gd name="connsiteX6-29" fmla="*/ 0 w 868632"/>
                  <a:gd name="connsiteY6-30" fmla="*/ 755172 h 1285984"/>
                  <a:gd name="connsiteX7-31" fmla="*/ 251725 w 868632"/>
                  <a:gd name="connsiteY7-32" fmla="*/ 0 h 1285984"/>
                  <a:gd name="connsiteX0-33" fmla="*/ 251725 w 868632"/>
                  <a:gd name="connsiteY0-34" fmla="*/ 0 h 1285984"/>
                  <a:gd name="connsiteX1-35" fmla="*/ 495122 w 868632"/>
                  <a:gd name="connsiteY1-36" fmla="*/ 817558 h 1285984"/>
                  <a:gd name="connsiteX2-37" fmla="*/ 868632 w 868632"/>
                  <a:gd name="connsiteY2-38" fmla="*/ 1177613 h 1285984"/>
                  <a:gd name="connsiteX3-39" fmla="*/ 499177 w 868632"/>
                  <a:gd name="connsiteY3-40" fmla="*/ 1285984 h 1285984"/>
                  <a:gd name="connsiteX4-41" fmla="*/ 262110 w 868632"/>
                  <a:gd name="connsiteY4-42" fmla="*/ 1074317 h 1285984"/>
                  <a:gd name="connsiteX5-43" fmla="*/ 250148 w 868632"/>
                  <a:gd name="connsiteY5-44" fmla="*/ 1083939 h 1285984"/>
                  <a:gd name="connsiteX6-45" fmla="*/ 0 w 868632"/>
                  <a:gd name="connsiteY6-46" fmla="*/ 755172 h 1285984"/>
                  <a:gd name="connsiteX7-47" fmla="*/ 251725 w 868632"/>
                  <a:gd name="connsiteY7-48" fmla="*/ 0 h 1285984"/>
                  <a:gd name="connsiteX0-49" fmla="*/ 251725 w 868632"/>
                  <a:gd name="connsiteY0-50" fmla="*/ 0 h 1177613"/>
                  <a:gd name="connsiteX1-51" fmla="*/ 495122 w 868632"/>
                  <a:gd name="connsiteY1-52" fmla="*/ 817558 h 1177613"/>
                  <a:gd name="connsiteX2-53" fmla="*/ 868632 w 868632"/>
                  <a:gd name="connsiteY2-54" fmla="*/ 1177613 h 1177613"/>
                  <a:gd name="connsiteX3-55" fmla="*/ 485187 w 868632"/>
                  <a:gd name="connsiteY3-56" fmla="*/ 1146081 h 1177613"/>
                  <a:gd name="connsiteX4-57" fmla="*/ 262110 w 868632"/>
                  <a:gd name="connsiteY4-58" fmla="*/ 1074317 h 1177613"/>
                  <a:gd name="connsiteX5-59" fmla="*/ 250148 w 868632"/>
                  <a:gd name="connsiteY5-60" fmla="*/ 1083939 h 1177613"/>
                  <a:gd name="connsiteX6-61" fmla="*/ 0 w 868632"/>
                  <a:gd name="connsiteY6-62" fmla="*/ 755172 h 1177613"/>
                  <a:gd name="connsiteX7-63" fmla="*/ 251725 w 868632"/>
                  <a:gd name="connsiteY7-64" fmla="*/ 0 h 1177613"/>
                  <a:gd name="connsiteX0-65" fmla="*/ 251725 w 833656"/>
                  <a:gd name="connsiteY0-66" fmla="*/ 0 h 1163623"/>
                  <a:gd name="connsiteX1-67" fmla="*/ 495122 w 833656"/>
                  <a:gd name="connsiteY1-68" fmla="*/ 817558 h 1163623"/>
                  <a:gd name="connsiteX2-69" fmla="*/ 833656 w 833656"/>
                  <a:gd name="connsiteY2-70" fmla="*/ 1163623 h 1163623"/>
                  <a:gd name="connsiteX3-71" fmla="*/ 485187 w 833656"/>
                  <a:gd name="connsiteY3-72" fmla="*/ 1146081 h 1163623"/>
                  <a:gd name="connsiteX4-73" fmla="*/ 262110 w 833656"/>
                  <a:gd name="connsiteY4-74" fmla="*/ 1074317 h 1163623"/>
                  <a:gd name="connsiteX5-75" fmla="*/ 250148 w 833656"/>
                  <a:gd name="connsiteY5-76" fmla="*/ 1083939 h 1163623"/>
                  <a:gd name="connsiteX6-77" fmla="*/ 0 w 833656"/>
                  <a:gd name="connsiteY6-78" fmla="*/ 755172 h 1163623"/>
                  <a:gd name="connsiteX7-79" fmla="*/ 251725 w 833656"/>
                  <a:gd name="connsiteY7-80" fmla="*/ 0 h 1163623"/>
                  <a:gd name="connsiteX0-81" fmla="*/ 251725 w 735724"/>
                  <a:gd name="connsiteY0-82" fmla="*/ 0 h 1146081"/>
                  <a:gd name="connsiteX1-83" fmla="*/ 495122 w 735724"/>
                  <a:gd name="connsiteY1-84" fmla="*/ 817558 h 1146081"/>
                  <a:gd name="connsiteX2-85" fmla="*/ 735724 w 735724"/>
                  <a:gd name="connsiteY2-86" fmla="*/ 1079681 h 1146081"/>
                  <a:gd name="connsiteX3-87" fmla="*/ 485187 w 735724"/>
                  <a:gd name="connsiteY3-88" fmla="*/ 1146081 h 1146081"/>
                  <a:gd name="connsiteX4-89" fmla="*/ 262110 w 735724"/>
                  <a:gd name="connsiteY4-90" fmla="*/ 1074317 h 1146081"/>
                  <a:gd name="connsiteX5-91" fmla="*/ 250148 w 735724"/>
                  <a:gd name="connsiteY5-92" fmla="*/ 1083939 h 1146081"/>
                  <a:gd name="connsiteX6-93" fmla="*/ 0 w 735724"/>
                  <a:gd name="connsiteY6-94" fmla="*/ 755172 h 1146081"/>
                  <a:gd name="connsiteX7-95" fmla="*/ 251725 w 735724"/>
                  <a:gd name="connsiteY7-96" fmla="*/ 0 h 114608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735724" h="1146081">
                    <a:moveTo>
                      <a:pt x="251725" y="0"/>
                    </a:moveTo>
                    <a:lnTo>
                      <a:pt x="495122" y="817558"/>
                    </a:lnTo>
                    <a:lnTo>
                      <a:pt x="735724" y="1079681"/>
                    </a:lnTo>
                    <a:lnTo>
                      <a:pt x="485187" y="1146081"/>
                    </a:lnTo>
                    <a:lnTo>
                      <a:pt x="262110" y="1074317"/>
                    </a:lnTo>
                    <a:lnTo>
                      <a:pt x="250148" y="1083939"/>
                    </a:lnTo>
                    <a:lnTo>
                      <a:pt x="0" y="755172"/>
                    </a:lnTo>
                    <a:lnTo>
                      <a:pt x="251725" y="0"/>
                    </a:lnTo>
                    <a:close/>
                  </a:path>
                </a:pathLst>
              </a:custGeom>
              <a:solidFill>
                <a:schemeClr val="bg1"/>
              </a:solidFill>
              <a:ln w="9525" cap="flat" cmpd="sng" algn="ctr">
                <a:solidFill>
                  <a:srgbClr val="D9D9D9"/>
                </a:solidFill>
                <a:prstDash val="solid"/>
                <a:round/>
                <a:headEnd type="none" w="med" len="med"/>
                <a:tailEnd type="none" w="med" len="med"/>
              </a:ln>
            </p:spPr>
            <p:txBody>
              <a:bodyPr/>
              <a:lstStyle/>
              <a:p>
                <a:endParaRPr lang="en-US" dirty="0">
                  <a:solidFill>
                    <a:schemeClr val="tx1"/>
                  </a:solidFill>
                </a:endParaRPr>
              </a:p>
            </p:txBody>
          </p:sp>
          <p:pic>
            <p:nvPicPr>
              <p:cNvPr id="129" name="Picture 8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664904" y="1431896"/>
                <a:ext cx="392727" cy="389706"/>
              </a:xfrm>
              <a:prstGeom prst="rect">
                <a:avLst/>
              </a:prstGeom>
            </p:spPr>
          </p:pic>
          <p:pic>
            <p:nvPicPr>
              <p:cNvPr id="130" name="Picture 83"/>
              <p:cNvPicPr>
                <a:picLocks noChangeAspect="1"/>
              </p:cNvPicPr>
              <p:nvPr/>
            </p:nvPicPr>
            <p:blipFill>
              <a:blip r:embed="rId4" cstate="print">
                <a:lum bright="70000" contrast="-70000"/>
                <a:extLst>
                  <a:ext uri="{BEBA8EAE-BF5A-486C-A8C5-ECC9F3942E4B}">
                    <a14:imgProps xmlns:a14="http://schemas.microsoft.com/office/drawing/2010/main">
                      <a14:imgLayer r:embed="rId5">
                        <a14:imgEffect>
                          <a14:brightnessContrast bright="40000" contrast="-40000"/>
                        </a14:imgEffect>
                        <a14:imgEffect>
                          <a14:colorTemperature colorTemp="4700"/>
                        </a14:imgEffect>
                      </a14:imgLayer>
                    </a14:imgProps>
                  </a:ext>
                  <a:ext uri="{28A0092B-C50C-407E-A947-70E740481C1C}">
                    <a14:useLocalDpi xmlns:a14="http://schemas.microsoft.com/office/drawing/2010/main" val="0"/>
                  </a:ext>
                </a:extLst>
              </a:blip>
              <a:stretch>
                <a:fillRect/>
              </a:stretch>
            </p:blipFill>
            <p:spPr>
              <a:xfrm flipH="1">
                <a:off x="3069155" y="1220125"/>
                <a:ext cx="374134" cy="394959"/>
              </a:xfrm>
              <a:prstGeom prst="rect">
                <a:avLst/>
              </a:prstGeom>
            </p:spPr>
          </p:pic>
          <p:sp>
            <p:nvSpPr>
              <p:cNvPr id="131" name="Freeform 40"/>
              <p:cNvSpPr/>
              <p:nvPr/>
            </p:nvSpPr>
            <p:spPr>
              <a:xfrm>
                <a:off x="766454" y="2783970"/>
                <a:ext cx="968409" cy="1369607"/>
              </a:xfrm>
              <a:custGeom>
                <a:avLst/>
                <a:gdLst>
                  <a:gd name="connsiteX0" fmla="*/ 0 w 1066800"/>
                  <a:gd name="connsiteY0" fmla="*/ 1508760 h 1508760"/>
                  <a:gd name="connsiteX1" fmla="*/ 264160 w 1066800"/>
                  <a:gd name="connsiteY1" fmla="*/ 1183640 h 1508760"/>
                  <a:gd name="connsiteX2" fmla="*/ 619760 w 1066800"/>
                  <a:gd name="connsiteY2" fmla="*/ 1102360 h 1508760"/>
                  <a:gd name="connsiteX3" fmla="*/ 787400 w 1066800"/>
                  <a:gd name="connsiteY3" fmla="*/ 472440 h 1508760"/>
                  <a:gd name="connsiteX4" fmla="*/ 1066800 w 1066800"/>
                  <a:gd name="connsiteY4" fmla="*/ 0 h 150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0" h="1508760">
                    <a:moveTo>
                      <a:pt x="0" y="1508760"/>
                    </a:moveTo>
                    <a:lnTo>
                      <a:pt x="264160" y="1183640"/>
                    </a:lnTo>
                    <a:lnTo>
                      <a:pt x="619760" y="1102360"/>
                    </a:lnTo>
                    <a:lnTo>
                      <a:pt x="787400" y="472440"/>
                    </a:lnTo>
                    <a:lnTo>
                      <a:pt x="1066800" y="0"/>
                    </a:lnTo>
                  </a:path>
                </a:pathLst>
              </a:cu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Freeform 41"/>
              <p:cNvSpPr/>
              <p:nvPr/>
            </p:nvSpPr>
            <p:spPr>
              <a:xfrm>
                <a:off x="2285454" y="2774747"/>
                <a:ext cx="757544" cy="1374145"/>
              </a:xfrm>
              <a:custGeom>
                <a:avLst/>
                <a:gdLst>
                  <a:gd name="connsiteX0" fmla="*/ 45720 w 289560"/>
                  <a:gd name="connsiteY0" fmla="*/ 0 h 1569720"/>
                  <a:gd name="connsiteX1" fmla="*/ 111760 w 289560"/>
                  <a:gd name="connsiteY1" fmla="*/ 142240 h 1569720"/>
                  <a:gd name="connsiteX2" fmla="*/ 0 w 289560"/>
                  <a:gd name="connsiteY2" fmla="*/ 762000 h 1569720"/>
                  <a:gd name="connsiteX3" fmla="*/ 167640 w 289560"/>
                  <a:gd name="connsiteY3" fmla="*/ 939800 h 1569720"/>
                  <a:gd name="connsiteX4" fmla="*/ 289560 w 289560"/>
                  <a:gd name="connsiteY4" fmla="*/ 1569720 h 1569720"/>
                  <a:gd name="connsiteX0-1" fmla="*/ 290185 w 414498"/>
                  <a:gd name="connsiteY0-2" fmla="*/ 0 h 1513759"/>
                  <a:gd name="connsiteX1-3" fmla="*/ 356225 w 414498"/>
                  <a:gd name="connsiteY1-4" fmla="*/ 142240 h 1513759"/>
                  <a:gd name="connsiteX2-5" fmla="*/ 244465 w 414498"/>
                  <a:gd name="connsiteY2-6" fmla="*/ 762000 h 1513759"/>
                  <a:gd name="connsiteX3-7" fmla="*/ 412105 w 414498"/>
                  <a:gd name="connsiteY3-8" fmla="*/ 939800 h 1513759"/>
                  <a:gd name="connsiteX4-9" fmla="*/ 2393 w 414498"/>
                  <a:gd name="connsiteY4-10" fmla="*/ 1513759 h 1513759"/>
                  <a:gd name="connsiteX0-11" fmla="*/ 287792 w 413314"/>
                  <a:gd name="connsiteY0-12" fmla="*/ 0 h 1513759"/>
                  <a:gd name="connsiteX1-13" fmla="*/ 353832 w 413314"/>
                  <a:gd name="connsiteY1-14" fmla="*/ 142240 h 1513759"/>
                  <a:gd name="connsiteX2-15" fmla="*/ 242072 w 413314"/>
                  <a:gd name="connsiteY2-16" fmla="*/ 762000 h 1513759"/>
                  <a:gd name="connsiteX3-17" fmla="*/ 409712 w 413314"/>
                  <a:gd name="connsiteY3-18" fmla="*/ 939800 h 1513759"/>
                  <a:gd name="connsiteX4-19" fmla="*/ 0 w 413314"/>
                  <a:gd name="connsiteY4-20" fmla="*/ 1513759 h 1513759"/>
                  <a:gd name="connsiteX0-21" fmla="*/ 287792 w 728705"/>
                  <a:gd name="connsiteY0-22" fmla="*/ 0 h 1513759"/>
                  <a:gd name="connsiteX1-23" fmla="*/ 353832 w 728705"/>
                  <a:gd name="connsiteY1-24" fmla="*/ 142240 h 1513759"/>
                  <a:gd name="connsiteX2-25" fmla="*/ 242072 w 728705"/>
                  <a:gd name="connsiteY2-26" fmla="*/ 762000 h 1513759"/>
                  <a:gd name="connsiteX3-27" fmla="*/ 726826 w 728705"/>
                  <a:gd name="connsiteY3-28" fmla="*/ 715954 h 1513759"/>
                  <a:gd name="connsiteX4-29" fmla="*/ 0 w 728705"/>
                  <a:gd name="connsiteY4-30" fmla="*/ 1513759 h 1513759"/>
                  <a:gd name="connsiteX0-31" fmla="*/ 409468 w 850380"/>
                  <a:gd name="connsiteY0-32" fmla="*/ 0 h 1513759"/>
                  <a:gd name="connsiteX1-33" fmla="*/ 475508 w 850380"/>
                  <a:gd name="connsiteY1-34" fmla="*/ 142240 h 1513759"/>
                  <a:gd name="connsiteX2-35" fmla="*/ 0 w 850380"/>
                  <a:gd name="connsiteY2-36" fmla="*/ 295656 h 1513759"/>
                  <a:gd name="connsiteX3-37" fmla="*/ 848502 w 850380"/>
                  <a:gd name="connsiteY3-38" fmla="*/ 715954 h 1513759"/>
                  <a:gd name="connsiteX4-39" fmla="*/ 121676 w 850380"/>
                  <a:gd name="connsiteY4-40" fmla="*/ 1513759 h 1513759"/>
                  <a:gd name="connsiteX0-41" fmla="*/ 409468 w 850380"/>
                  <a:gd name="connsiteY0-42" fmla="*/ 0 h 1513759"/>
                  <a:gd name="connsiteX1-43" fmla="*/ 335605 w 850380"/>
                  <a:gd name="connsiteY1-44" fmla="*/ 58298 h 1513759"/>
                  <a:gd name="connsiteX2-45" fmla="*/ 0 w 850380"/>
                  <a:gd name="connsiteY2-46" fmla="*/ 295656 h 1513759"/>
                  <a:gd name="connsiteX3-47" fmla="*/ 848502 w 850380"/>
                  <a:gd name="connsiteY3-48" fmla="*/ 715954 h 1513759"/>
                  <a:gd name="connsiteX4-49" fmla="*/ 121676 w 850380"/>
                  <a:gd name="connsiteY4-50" fmla="*/ 1513759 h 1513759"/>
                  <a:gd name="connsiteX0-51" fmla="*/ 409468 w 836429"/>
                  <a:gd name="connsiteY0-52" fmla="*/ 0 h 1513759"/>
                  <a:gd name="connsiteX1-53" fmla="*/ 335605 w 836429"/>
                  <a:gd name="connsiteY1-54" fmla="*/ 58298 h 1513759"/>
                  <a:gd name="connsiteX2-55" fmla="*/ 0 w 836429"/>
                  <a:gd name="connsiteY2-56" fmla="*/ 295656 h 1513759"/>
                  <a:gd name="connsiteX3-57" fmla="*/ 834511 w 836429"/>
                  <a:gd name="connsiteY3-58" fmla="*/ 771916 h 1513759"/>
                  <a:gd name="connsiteX4-59" fmla="*/ 121676 w 836429"/>
                  <a:gd name="connsiteY4-60" fmla="*/ 1513759 h 1513759"/>
                  <a:gd name="connsiteX0-61" fmla="*/ 409468 w 834511"/>
                  <a:gd name="connsiteY0-62" fmla="*/ 0 h 1513759"/>
                  <a:gd name="connsiteX1-63" fmla="*/ 335605 w 834511"/>
                  <a:gd name="connsiteY1-64" fmla="*/ 58298 h 1513759"/>
                  <a:gd name="connsiteX2-65" fmla="*/ 0 w 834511"/>
                  <a:gd name="connsiteY2-66" fmla="*/ 295656 h 1513759"/>
                  <a:gd name="connsiteX3-67" fmla="*/ 834511 w 834511"/>
                  <a:gd name="connsiteY3-68" fmla="*/ 771916 h 1513759"/>
                  <a:gd name="connsiteX4-69" fmla="*/ 121676 w 834511"/>
                  <a:gd name="connsiteY4-70" fmla="*/ 1513759 h 151375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34511" h="1513759">
                    <a:moveTo>
                      <a:pt x="409468" y="0"/>
                    </a:moveTo>
                    <a:lnTo>
                      <a:pt x="335605" y="58298"/>
                    </a:lnTo>
                    <a:lnTo>
                      <a:pt x="0" y="295656"/>
                    </a:lnTo>
                    <a:lnTo>
                      <a:pt x="834511" y="771916"/>
                    </a:lnTo>
                    <a:cubicBezTo>
                      <a:pt x="828517" y="907274"/>
                      <a:pt x="258248" y="1359748"/>
                      <a:pt x="121676" y="1513759"/>
                    </a:cubicBezTo>
                  </a:path>
                </a:pathLst>
              </a:custGeom>
              <a:noFill/>
              <a:ln w="15875" cap="rnd" cmpd="sng" algn="ctr">
                <a:solidFill>
                  <a:schemeClr val="bg1">
                    <a:lumMod val="65000"/>
                  </a:schemeClr>
                </a:solidFill>
                <a:prstDash val="sysDash"/>
                <a:round/>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Freeform 42"/>
              <p:cNvSpPr/>
              <p:nvPr/>
            </p:nvSpPr>
            <p:spPr>
              <a:xfrm>
                <a:off x="3145505" y="2857828"/>
                <a:ext cx="843283" cy="1346476"/>
              </a:xfrm>
              <a:custGeom>
                <a:avLst/>
                <a:gdLst>
                  <a:gd name="connsiteX0" fmla="*/ 0 w 1046480"/>
                  <a:gd name="connsiteY0" fmla="*/ 0 h 1539240"/>
                  <a:gd name="connsiteX1" fmla="*/ 284480 w 1046480"/>
                  <a:gd name="connsiteY1" fmla="*/ 650240 h 1539240"/>
                  <a:gd name="connsiteX2" fmla="*/ 553720 w 1046480"/>
                  <a:gd name="connsiteY2" fmla="*/ 487680 h 1539240"/>
                  <a:gd name="connsiteX3" fmla="*/ 822960 w 1046480"/>
                  <a:gd name="connsiteY3" fmla="*/ 1315720 h 1539240"/>
                  <a:gd name="connsiteX4" fmla="*/ 1046480 w 1046480"/>
                  <a:gd name="connsiteY4" fmla="*/ 1539240 h 1539240"/>
                  <a:gd name="connsiteX0-1" fmla="*/ 0 w 1046480"/>
                  <a:gd name="connsiteY0-2" fmla="*/ 0 h 1539240"/>
                  <a:gd name="connsiteX1-3" fmla="*/ 284480 w 1046480"/>
                  <a:gd name="connsiteY1-4" fmla="*/ 650240 h 1539240"/>
                  <a:gd name="connsiteX2-5" fmla="*/ 553720 w 1046480"/>
                  <a:gd name="connsiteY2-6" fmla="*/ 487680 h 1539240"/>
                  <a:gd name="connsiteX3-7" fmla="*/ 515620 w 1046480"/>
                  <a:gd name="connsiteY3-8" fmla="*/ 853017 h 1539240"/>
                  <a:gd name="connsiteX4-9" fmla="*/ 822960 w 1046480"/>
                  <a:gd name="connsiteY4-10" fmla="*/ 1315720 h 1539240"/>
                  <a:gd name="connsiteX5" fmla="*/ 1046480 w 1046480"/>
                  <a:gd name="connsiteY5" fmla="*/ 1539240 h 1539240"/>
                  <a:gd name="connsiteX0-11" fmla="*/ 0 w 1046480"/>
                  <a:gd name="connsiteY0-12" fmla="*/ 0 h 1539240"/>
                  <a:gd name="connsiteX1-13" fmla="*/ 284480 w 1046480"/>
                  <a:gd name="connsiteY1-14" fmla="*/ 650240 h 1539240"/>
                  <a:gd name="connsiteX2-15" fmla="*/ 553720 w 1046480"/>
                  <a:gd name="connsiteY2-16" fmla="*/ 487680 h 1539240"/>
                  <a:gd name="connsiteX3-17" fmla="*/ 568537 w 1046480"/>
                  <a:gd name="connsiteY3-18" fmla="*/ 711200 h 1539240"/>
                  <a:gd name="connsiteX4-19" fmla="*/ 515620 w 1046480"/>
                  <a:gd name="connsiteY4-20" fmla="*/ 853017 h 1539240"/>
                  <a:gd name="connsiteX5-21" fmla="*/ 822960 w 1046480"/>
                  <a:gd name="connsiteY5-22" fmla="*/ 1315720 h 1539240"/>
                  <a:gd name="connsiteX6" fmla="*/ 1046480 w 1046480"/>
                  <a:gd name="connsiteY6" fmla="*/ 1539240 h 1539240"/>
                  <a:gd name="connsiteX0-23" fmla="*/ 0 w 1046480"/>
                  <a:gd name="connsiteY0-24" fmla="*/ 0 h 1539240"/>
                  <a:gd name="connsiteX1-25" fmla="*/ 284480 w 1046480"/>
                  <a:gd name="connsiteY1-26" fmla="*/ 650240 h 1539240"/>
                  <a:gd name="connsiteX2-27" fmla="*/ 553720 w 1046480"/>
                  <a:gd name="connsiteY2-28" fmla="*/ 487680 h 1539240"/>
                  <a:gd name="connsiteX3-29" fmla="*/ 568537 w 1046480"/>
                  <a:gd name="connsiteY3-30" fmla="*/ 711200 h 1539240"/>
                  <a:gd name="connsiteX4-31" fmla="*/ 515620 w 1046480"/>
                  <a:gd name="connsiteY4-32" fmla="*/ 853017 h 1539240"/>
                  <a:gd name="connsiteX5-33" fmla="*/ 822960 w 1046480"/>
                  <a:gd name="connsiteY5-34" fmla="*/ 1315720 h 1539240"/>
                  <a:gd name="connsiteX6-35" fmla="*/ 1046480 w 1046480"/>
                  <a:gd name="connsiteY6-36" fmla="*/ 1539240 h 1539240"/>
                  <a:gd name="connsiteX0-37" fmla="*/ 0 w 1046480"/>
                  <a:gd name="connsiteY0-38" fmla="*/ 0 h 1539240"/>
                  <a:gd name="connsiteX1-39" fmla="*/ 284480 w 1046480"/>
                  <a:gd name="connsiteY1-40" fmla="*/ 650240 h 1539240"/>
                  <a:gd name="connsiteX2-41" fmla="*/ 553720 w 1046480"/>
                  <a:gd name="connsiteY2-42" fmla="*/ 487680 h 1539240"/>
                  <a:gd name="connsiteX3-43" fmla="*/ 568537 w 1046480"/>
                  <a:gd name="connsiteY3-44" fmla="*/ 711200 h 1539240"/>
                  <a:gd name="connsiteX4-45" fmla="*/ 515620 w 1046480"/>
                  <a:gd name="connsiteY4-46" fmla="*/ 853017 h 1539240"/>
                  <a:gd name="connsiteX5-47" fmla="*/ 822960 w 1046480"/>
                  <a:gd name="connsiteY5-48" fmla="*/ 1315720 h 1539240"/>
                  <a:gd name="connsiteX6-49" fmla="*/ 1046480 w 1046480"/>
                  <a:gd name="connsiteY6-50" fmla="*/ 1539240 h 1539240"/>
                  <a:gd name="connsiteX0-51" fmla="*/ 0 w 1046480"/>
                  <a:gd name="connsiteY0-52" fmla="*/ 0 h 1539240"/>
                  <a:gd name="connsiteX1-53" fmla="*/ 284480 w 1046480"/>
                  <a:gd name="connsiteY1-54" fmla="*/ 650240 h 1539240"/>
                  <a:gd name="connsiteX2-55" fmla="*/ 553720 w 1046480"/>
                  <a:gd name="connsiteY2-56" fmla="*/ 487680 h 1539240"/>
                  <a:gd name="connsiteX3-57" fmla="*/ 568537 w 1046480"/>
                  <a:gd name="connsiteY3-58" fmla="*/ 711200 h 1539240"/>
                  <a:gd name="connsiteX4-59" fmla="*/ 515620 w 1046480"/>
                  <a:gd name="connsiteY4-60" fmla="*/ 853017 h 1539240"/>
                  <a:gd name="connsiteX5-61" fmla="*/ 822960 w 1046480"/>
                  <a:gd name="connsiteY5-62" fmla="*/ 1315720 h 1539240"/>
                  <a:gd name="connsiteX6-63" fmla="*/ 1046480 w 1046480"/>
                  <a:gd name="connsiteY6-64" fmla="*/ 1539240 h 1539240"/>
                  <a:gd name="connsiteX0-65" fmla="*/ 0 w 923365"/>
                  <a:gd name="connsiteY0-66" fmla="*/ 0 h 1539240"/>
                  <a:gd name="connsiteX1-67" fmla="*/ 284480 w 923365"/>
                  <a:gd name="connsiteY1-68" fmla="*/ 650240 h 1539240"/>
                  <a:gd name="connsiteX2-69" fmla="*/ 553720 w 923365"/>
                  <a:gd name="connsiteY2-70" fmla="*/ 487680 h 1539240"/>
                  <a:gd name="connsiteX3-71" fmla="*/ 568537 w 923365"/>
                  <a:gd name="connsiteY3-72" fmla="*/ 711200 h 1539240"/>
                  <a:gd name="connsiteX4-73" fmla="*/ 515620 w 923365"/>
                  <a:gd name="connsiteY4-74" fmla="*/ 853017 h 1539240"/>
                  <a:gd name="connsiteX5-75" fmla="*/ 822960 w 923365"/>
                  <a:gd name="connsiteY5-76" fmla="*/ 1315720 h 1539240"/>
                  <a:gd name="connsiteX6-77" fmla="*/ 923365 w 923365"/>
                  <a:gd name="connsiteY6-78" fmla="*/ 1539240 h 1539240"/>
                  <a:gd name="connsiteX0-79" fmla="*/ 0 w 928961"/>
                  <a:gd name="connsiteY0-80" fmla="*/ 0 h 1483279"/>
                  <a:gd name="connsiteX1-81" fmla="*/ 290076 w 928961"/>
                  <a:gd name="connsiteY1-82" fmla="*/ 594279 h 1483279"/>
                  <a:gd name="connsiteX2-83" fmla="*/ 559316 w 928961"/>
                  <a:gd name="connsiteY2-84" fmla="*/ 431719 h 1483279"/>
                  <a:gd name="connsiteX3-85" fmla="*/ 574133 w 928961"/>
                  <a:gd name="connsiteY3-86" fmla="*/ 655239 h 1483279"/>
                  <a:gd name="connsiteX4-87" fmla="*/ 521216 w 928961"/>
                  <a:gd name="connsiteY4-88" fmla="*/ 797056 h 1483279"/>
                  <a:gd name="connsiteX5-89" fmla="*/ 828556 w 928961"/>
                  <a:gd name="connsiteY5-90" fmla="*/ 1259759 h 1483279"/>
                  <a:gd name="connsiteX6-91" fmla="*/ 928961 w 928961"/>
                  <a:gd name="connsiteY6-92" fmla="*/ 1483279 h 14832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928961" h="1483279">
                    <a:moveTo>
                      <a:pt x="0" y="0"/>
                    </a:moveTo>
                    <a:lnTo>
                      <a:pt x="290076" y="594279"/>
                    </a:lnTo>
                    <a:lnTo>
                      <a:pt x="559316" y="431719"/>
                    </a:lnTo>
                    <a:cubicBezTo>
                      <a:pt x="570676" y="507142"/>
                      <a:pt x="580483" y="594350"/>
                      <a:pt x="574133" y="655239"/>
                    </a:cubicBezTo>
                    <a:cubicBezTo>
                      <a:pt x="567783" y="684379"/>
                      <a:pt x="514795" y="767916"/>
                      <a:pt x="521216" y="797056"/>
                    </a:cubicBezTo>
                    <a:lnTo>
                      <a:pt x="828556" y="1259759"/>
                    </a:lnTo>
                    <a:lnTo>
                      <a:pt x="928961" y="1483279"/>
                    </a:lnTo>
                  </a:path>
                </a:pathLst>
              </a:custGeom>
              <a:noFill/>
              <a:ln w="15875" cap="rnd" cmpd="sng" algn="ctr">
                <a:solidFill>
                  <a:schemeClr val="bg1">
                    <a:lumMod val="65000"/>
                  </a:schemeClr>
                </a:solidFill>
                <a:prstDash val="sysDash"/>
                <a:round/>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4" name="Group 25"/>
              <p:cNvGrpSpPr/>
              <p:nvPr/>
            </p:nvGrpSpPr>
            <p:grpSpPr>
              <a:xfrm>
                <a:off x="1155079" y="4256683"/>
                <a:ext cx="2833709" cy="1285720"/>
                <a:chOff x="1542196" y="4645010"/>
                <a:chExt cx="2514600" cy="1467080"/>
              </a:xfrm>
            </p:grpSpPr>
            <p:cxnSp>
              <p:nvCxnSpPr>
                <p:cNvPr id="136" name="Straight Arrow Connector 49"/>
                <p:cNvCxnSpPr/>
                <p:nvPr/>
              </p:nvCxnSpPr>
              <p:spPr>
                <a:xfrm flipV="1">
                  <a:off x="23803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7" name="Straight Arrow Connector 50"/>
                <p:cNvCxnSpPr/>
                <p:nvPr/>
              </p:nvCxnSpPr>
              <p:spPr>
                <a:xfrm flipV="1">
                  <a:off x="15421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8" name="Straight Arrow Connector 51"/>
                <p:cNvCxnSpPr/>
                <p:nvPr/>
              </p:nvCxnSpPr>
              <p:spPr>
                <a:xfrm flipV="1">
                  <a:off x="40567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9" name="Straight Arrow Connector 52"/>
                <p:cNvCxnSpPr/>
                <p:nvPr/>
              </p:nvCxnSpPr>
              <p:spPr>
                <a:xfrm flipV="1">
                  <a:off x="32185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grpSp>
          <p:sp>
            <p:nvSpPr>
              <p:cNvPr id="135" name="Freeform 26"/>
              <p:cNvSpPr/>
              <p:nvPr/>
            </p:nvSpPr>
            <p:spPr>
              <a:xfrm>
                <a:off x="1734288" y="1816138"/>
                <a:ext cx="1120587" cy="929212"/>
              </a:xfrm>
              <a:custGeom>
                <a:avLst/>
                <a:gdLst>
                  <a:gd name="connsiteX0" fmla="*/ 0 w 1244600"/>
                  <a:gd name="connsiteY0" fmla="*/ 930275 h 930275"/>
                  <a:gd name="connsiteX1" fmla="*/ 342900 w 1244600"/>
                  <a:gd name="connsiteY1" fmla="*/ 711200 h 930275"/>
                  <a:gd name="connsiteX2" fmla="*/ 568325 w 1244600"/>
                  <a:gd name="connsiteY2" fmla="*/ 784225 h 930275"/>
                  <a:gd name="connsiteX3" fmla="*/ 825500 w 1244600"/>
                  <a:gd name="connsiteY3" fmla="*/ 695325 h 930275"/>
                  <a:gd name="connsiteX4" fmla="*/ 1155700 w 1244600"/>
                  <a:gd name="connsiteY4" fmla="*/ 682625 h 930275"/>
                  <a:gd name="connsiteX5" fmla="*/ 1244600 w 1244600"/>
                  <a:gd name="connsiteY5" fmla="*/ 644525 h 930275"/>
                  <a:gd name="connsiteX6" fmla="*/ 1219200 w 1244600"/>
                  <a:gd name="connsiteY6" fmla="*/ 517525 h 930275"/>
                  <a:gd name="connsiteX7" fmla="*/ 800100 w 1244600"/>
                  <a:gd name="connsiteY7" fmla="*/ 469900 h 930275"/>
                  <a:gd name="connsiteX8" fmla="*/ 428625 w 1244600"/>
                  <a:gd name="connsiteY8" fmla="*/ 492125 h 930275"/>
                  <a:gd name="connsiteX9" fmla="*/ 295275 w 1244600"/>
                  <a:gd name="connsiteY9" fmla="*/ 377825 h 930275"/>
                  <a:gd name="connsiteX10" fmla="*/ 196850 w 1244600"/>
                  <a:gd name="connsiteY10" fmla="*/ 368300 h 930275"/>
                  <a:gd name="connsiteX11" fmla="*/ 292100 w 1244600"/>
                  <a:gd name="connsiteY11" fmla="*/ 171450 h 930275"/>
                  <a:gd name="connsiteX12" fmla="*/ 692150 w 1244600"/>
                  <a:gd name="connsiteY12" fmla="*/ 114300 h 930275"/>
                  <a:gd name="connsiteX13" fmla="*/ 927100 w 1244600"/>
                  <a:gd name="connsiteY13" fmla="*/ 101600 h 930275"/>
                  <a:gd name="connsiteX14" fmla="*/ 1066800 w 1244600"/>
                  <a:gd name="connsiteY14" fmla="*/ 0 h 930275"/>
                  <a:gd name="connsiteX0-1" fmla="*/ 0 w 1244600"/>
                  <a:gd name="connsiteY0-2" fmla="*/ 1104900 h 1104900"/>
                  <a:gd name="connsiteX1-3" fmla="*/ 342900 w 1244600"/>
                  <a:gd name="connsiteY1-4" fmla="*/ 885825 h 1104900"/>
                  <a:gd name="connsiteX2-5" fmla="*/ 568325 w 1244600"/>
                  <a:gd name="connsiteY2-6" fmla="*/ 958850 h 1104900"/>
                  <a:gd name="connsiteX3-7" fmla="*/ 825500 w 1244600"/>
                  <a:gd name="connsiteY3-8" fmla="*/ 869950 h 1104900"/>
                  <a:gd name="connsiteX4-9" fmla="*/ 1155700 w 1244600"/>
                  <a:gd name="connsiteY4-10" fmla="*/ 857250 h 1104900"/>
                  <a:gd name="connsiteX5-11" fmla="*/ 1244600 w 1244600"/>
                  <a:gd name="connsiteY5-12" fmla="*/ 819150 h 1104900"/>
                  <a:gd name="connsiteX6-13" fmla="*/ 1219200 w 1244600"/>
                  <a:gd name="connsiteY6-14" fmla="*/ 692150 h 1104900"/>
                  <a:gd name="connsiteX7-15" fmla="*/ 800100 w 1244600"/>
                  <a:gd name="connsiteY7-16" fmla="*/ 644525 h 1104900"/>
                  <a:gd name="connsiteX8-17" fmla="*/ 428625 w 1244600"/>
                  <a:gd name="connsiteY8-18" fmla="*/ 666750 h 1104900"/>
                  <a:gd name="connsiteX9-19" fmla="*/ 295275 w 1244600"/>
                  <a:gd name="connsiteY9-20" fmla="*/ 552450 h 1104900"/>
                  <a:gd name="connsiteX10-21" fmla="*/ 196850 w 1244600"/>
                  <a:gd name="connsiteY10-22" fmla="*/ 542925 h 1104900"/>
                  <a:gd name="connsiteX11-23" fmla="*/ 292100 w 1244600"/>
                  <a:gd name="connsiteY11-24" fmla="*/ 346075 h 1104900"/>
                  <a:gd name="connsiteX12-25" fmla="*/ 692150 w 1244600"/>
                  <a:gd name="connsiteY12-26" fmla="*/ 288925 h 1104900"/>
                  <a:gd name="connsiteX13-27" fmla="*/ 927100 w 1244600"/>
                  <a:gd name="connsiteY13-28" fmla="*/ 276225 h 1104900"/>
                  <a:gd name="connsiteX14-29" fmla="*/ 1009650 w 1244600"/>
                  <a:gd name="connsiteY14-30" fmla="*/ 0 h 1104900"/>
                  <a:gd name="connsiteX0-31" fmla="*/ 0 w 1244600"/>
                  <a:gd name="connsiteY0-32" fmla="*/ 1104900 h 1104900"/>
                  <a:gd name="connsiteX1-33" fmla="*/ 342900 w 1244600"/>
                  <a:gd name="connsiteY1-34" fmla="*/ 885825 h 1104900"/>
                  <a:gd name="connsiteX2-35" fmla="*/ 568325 w 1244600"/>
                  <a:gd name="connsiteY2-36" fmla="*/ 958850 h 1104900"/>
                  <a:gd name="connsiteX3-37" fmla="*/ 825500 w 1244600"/>
                  <a:gd name="connsiteY3-38" fmla="*/ 869950 h 1104900"/>
                  <a:gd name="connsiteX4-39" fmla="*/ 1155700 w 1244600"/>
                  <a:gd name="connsiteY4-40" fmla="*/ 857250 h 1104900"/>
                  <a:gd name="connsiteX5-41" fmla="*/ 1244600 w 1244600"/>
                  <a:gd name="connsiteY5-42" fmla="*/ 819150 h 1104900"/>
                  <a:gd name="connsiteX6-43" fmla="*/ 1219200 w 1244600"/>
                  <a:gd name="connsiteY6-44" fmla="*/ 692150 h 1104900"/>
                  <a:gd name="connsiteX7-45" fmla="*/ 800100 w 1244600"/>
                  <a:gd name="connsiteY7-46" fmla="*/ 644525 h 1104900"/>
                  <a:gd name="connsiteX8-47" fmla="*/ 428625 w 1244600"/>
                  <a:gd name="connsiteY8-48" fmla="*/ 666750 h 1104900"/>
                  <a:gd name="connsiteX9-49" fmla="*/ 295275 w 1244600"/>
                  <a:gd name="connsiteY9-50" fmla="*/ 552450 h 1104900"/>
                  <a:gd name="connsiteX10-51" fmla="*/ 196850 w 1244600"/>
                  <a:gd name="connsiteY10-52" fmla="*/ 542925 h 1104900"/>
                  <a:gd name="connsiteX11-53" fmla="*/ 292100 w 1244600"/>
                  <a:gd name="connsiteY11-54" fmla="*/ 346075 h 1104900"/>
                  <a:gd name="connsiteX12-55" fmla="*/ 692150 w 1244600"/>
                  <a:gd name="connsiteY12-56" fmla="*/ 288925 h 1104900"/>
                  <a:gd name="connsiteX13-57" fmla="*/ 927100 w 1244600"/>
                  <a:gd name="connsiteY13-58" fmla="*/ 276225 h 1104900"/>
                  <a:gd name="connsiteX14-59" fmla="*/ 1082675 w 1244600"/>
                  <a:gd name="connsiteY14-60" fmla="*/ 215900 h 1104900"/>
                  <a:gd name="connsiteX15" fmla="*/ 1009650 w 1244600"/>
                  <a:gd name="connsiteY15" fmla="*/ 0 h 1104900"/>
                  <a:gd name="connsiteX0-61" fmla="*/ 0 w 1244600"/>
                  <a:gd name="connsiteY0-62" fmla="*/ 1104900 h 1104900"/>
                  <a:gd name="connsiteX1-63" fmla="*/ 342900 w 1244600"/>
                  <a:gd name="connsiteY1-64" fmla="*/ 885825 h 1104900"/>
                  <a:gd name="connsiteX2-65" fmla="*/ 568325 w 1244600"/>
                  <a:gd name="connsiteY2-66" fmla="*/ 958850 h 1104900"/>
                  <a:gd name="connsiteX3-67" fmla="*/ 825500 w 1244600"/>
                  <a:gd name="connsiteY3-68" fmla="*/ 869950 h 1104900"/>
                  <a:gd name="connsiteX4-69" fmla="*/ 1155700 w 1244600"/>
                  <a:gd name="connsiteY4-70" fmla="*/ 857250 h 1104900"/>
                  <a:gd name="connsiteX5-71" fmla="*/ 1244600 w 1244600"/>
                  <a:gd name="connsiteY5-72" fmla="*/ 819150 h 1104900"/>
                  <a:gd name="connsiteX6-73" fmla="*/ 1219200 w 1244600"/>
                  <a:gd name="connsiteY6-74" fmla="*/ 692150 h 1104900"/>
                  <a:gd name="connsiteX7-75" fmla="*/ 800100 w 1244600"/>
                  <a:gd name="connsiteY7-76" fmla="*/ 644525 h 1104900"/>
                  <a:gd name="connsiteX8-77" fmla="*/ 428625 w 1244600"/>
                  <a:gd name="connsiteY8-78" fmla="*/ 666750 h 1104900"/>
                  <a:gd name="connsiteX9-79" fmla="*/ 295275 w 1244600"/>
                  <a:gd name="connsiteY9-80" fmla="*/ 552450 h 1104900"/>
                  <a:gd name="connsiteX10-81" fmla="*/ 196850 w 1244600"/>
                  <a:gd name="connsiteY10-82" fmla="*/ 542925 h 1104900"/>
                  <a:gd name="connsiteX11-83" fmla="*/ 292100 w 1244600"/>
                  <a:gd name="connsiteY11-84" fmla="*/ 346075 h 1104900"/>
                  <a:gd name="connsiteX12-85" fmla="*/ 692150 w 1244600"/>
                  <a:gd name="connsiteY12-86" fmla="*/ 288925 h 1104900"/>
                  <a:gd name="connsiteX13-87" fmla="*/ 927100 w 1244600"/>
                  <a:gd name="connsiteY13-88" fmla="*/ 276225 h 1104900"/>
                  <a:gd name="connsiteX14-89" fmla="*/ 1082675 w 1244600"/>
                  <a:gd name="connsiteY14-90" fmla="*/ 215900 h 1104900"/>
                  <a:gd name="connsiteX15-91" fmla="*/ 1009650 w 1244600"/>
                  <a:gd name="connsiteY15-92" fmla="*/ 0 h 1104900"/>
                  <a:gd name="connsiteX0-93" fmla="*/ 0 w 1244600"/>
                  <a:gd name="connsiteY0-94" fmla="*/ 1104900 h 1104900"/>
                  <a:gd name="connsiteX1-95" fmla="*/ 342900 w 1244600"/>
                  <a:gd name="connsiteY1-96" fmla="*/ 885825 h 1104900"/>
                  <a:gd name="connsiteX2-97" fmla="*/ 568325 w 1244600"/>
                  <a:gd name="connsiteY2-98" fmla="*/ 958850 h 1104900"/>
                  <a:gd name="connsiteX3-99" fmla="*/ 825500 w 1244600"/>
                  <a:gd name="connsiteY3-100" fmla="*/ 869950 h 1104900"/>
                  <a:gd name="connsiteX4-101" fmla="*/ 1155700 w 1244600"/>
                  <a:gd name="connsiteY4-102" fmla="*/ 857250 h 1104900"/>
                  <a:gd name="connsiteX5-103" fmla="*/ 1244600 w 1244600"/>
                  <a:gd name="connsiteY5-104" fmla="*/ 819150 h 1104900"/>
                  <a:gd name="connsiteX6-105" fmla="*/ 1219200 w 1244600"/>
                  <a:gd name="connsiteY6-106" fmla="*/ 692150 h 1104900"/>
                  <a:gd name="connsiteX7-107" fmla="*/ 800100 w 1244600"/>
                  <a:gd name="connsiteY7-108" fmla="*/ 644525 h 1104900"/>
                  <a:gd name="connsiteX8-109" fmla="*/ 428625 w 1244600"/>
                  <a:gd name="connsiteY8-110" fmla="*/ 666750 h 1104900"/>
                  <a:gd name="connsiteX9-111" fmla="*/ 295275 w 1244600"/>
                  <a:gd name="connsiteY9-112" fmla="*/ 552450 h 1104900"/>
                  <a:gd name="connsiteX10-113" fmla="*/ 196850 w 1244600"/>
                  <a:gd name="connsiteY10-114" fmla="*/ 542925 h 1104900"/>
                  <a:gd name="connsiteX11-115" fmla="*/ 292100 w 1244600"/>
                  <a:gd name="connsiteY11-116" fmla="*/ 346075 h 1104900"/>
                  <a:gd name="connsiteX12-117" fmla="*/ 692150 w 1244600"/>
                  <a:gd name="connsiteY12-118" fmla="*/ 288925 h 1104900"/>
                  <a:gd name="connsiteX13-119" fmla="*/ 927100 w 1244600"/>
                  <a:gd name="connsiteY13-120" fmla="*/ 276225 h 1104900"/>
                  <a:gd name="connsiteX14-121" fmla="*/ 1082675 w 1244600"/>
                  <a:gd name="connsiteY14-122" fmla="*/ 215900 h 1104900"/>
                  <a:gd name="connsiteX15-123" fmla="*/ 1009650 w 1244600"/>
                  <a:gd name="connsiteY15-124" fmla="*/ 0 h 1104900"/>
                  <a:gd name="connsiteX0-125" fmla="*/ 0 w 1234440"/>
                  <a:gd name="connsiteY0-126" fmla="*/ 1059180 h 1059180"/>
                  <a:gd name="connsiteX1-127" fmla="*/ 332740 w 1234440"/>
                  <a:gd name="connsiteY1-128" fmla="*/ 885825 h 1059180"/>
                  <a:gd name="connsiteX2-129" fmla="*/ 558165 w 1234440"/>
                  <a:gd name="connsiteY2-130" fmla="*/ 958850 h 1059180"/>
                  <a:gd name="connsiteX3-131" fmla="*/ 815340 w 1234440"/>
                  <a:gd name="connsiteY3-132" fmla="*/ 869950 h 1059180"/>
                  <a:gd name="connsiteX4-133" fmla="*/ 1145540 w 1234440"/>
                  <a:gd name="connsiteY4-134" fmla="*/ 857250 h 1059180"/>
                  <a:gd name="connsiteX5-135" fmla="*/ 1234440 w 1234440"/>
                  <a:gd name="connsiteY5-136" fmla="*/ 819150 h 1059180"/>
                  <a:gd name="connsiteX6-137" fmla="*/ 1209040 w 1234440"/>
                  <a:gd name="connsiteY6-138" fmla="*/ 692150 h 1059180"/>
                  <a:gd name="connsiteX7-139" fmla="*/ 789940 w 1234440"/>
                  <a:gd name="connsiteY7-140" fmla="*/ 644525 h 1059180"/>
                  <a:gd name="connsiteX8-141" fmla="*/ 418465 w 1234440"/>
                  <a:gd name="connsiteY8-142" fmla="*/ 666750 h 1059180"/>
                  <a:gd name="connsiteX9-143" fmla="*/ 285115 w 1234440"/>
                  <a:gd name="connsiteY9-144" fmla="*/ 552450 h 1059180"/>
                  <a:gd name="connsiteX10-145" fmla="*/ 186690 w 1234440"/>
                  <a:gd name="connsiteY10-146" fmla="*/ 542925 h 1059180"/>
                  <a:gd name="connsiteX11-147" fmla="*/ 281940 w 1234440"/>
                  <a:gd name="connsiteY11-148" fmla="*/ 346075 h 1059180"/>
                  <a:gd name="connsiteX12-149" fmla="*/ 681990 w 1234440"/>
                  <a:gd name="connsiteY12-150" fmla="*/ 288925 h 1059180"/>
                  <a:gd name="connsiteX13-151" fmla="*/ 916940 w 1234440"/>
                  <a:gd name="connsiteY13-152" fmla="*/ 276225 h 1059180"/>
                  <a:gd name="connsiteX14-153" fmla="*/ 1072515 w 1234440"/>
                  <a:gd name="connsiteY14-154" fmla="*/ 215900 h 1059180"/>
                  <a:gd name="connsiteX15-155" fmla="*/ 999490 w 1234440"/>
                  <a:gd name="connsiteY15-156" fmla="*/ 0 h 1059180"/>
                  <a:gd name="connsiteX0-157" fmla="*/ 0 w 1234440"/>
                  <a:gd name="connsiteY0-158" fmla="*/ 1023620 h 1023620"/>
                  <a:gd name="connsiteX1-159" fmla="*/ 332740 w 1234440"/>
                  <a:gd name="connsiteY1-160" fmla="*/ 850265 h 1023620"/>
                  <a:gd name="connsiteX2-161" fmla="*/ 558165 w 1234440"/>
                  <a:gd name="connsiteY2-162" fmla="*/ 923290 h 1023620"/>
                  <a:gd name="connsiteX3-163" fmla="*/ 815340 w 1234440"/>
                  <a:gd name="connsiteY3-164" fmla="*/ 834390 h 1023620"/>
                  <a:gd name="connsiteX4-165" fmla="*/ 1145540 w 1234440"/>
                  <a:gd name="connsiteY4-166" fmla="*/ 821690 h 1023620"/>
                  <a:gd name="connsiteX5-167" fmla="*/ 1234440 w 1234440"/>
                  <a:gd name="connsiteY5-168" fmla="*/ 783590 h 1023620"/>
                  <a:gd name="connsiteX6-169" fmla="*/ 1209040 w 1234440"/>
                  <a:gd name="connsiteY6-170" fmla="*/ 656590 h 1023620"/>
                  <a:gd name="connsiteX7-171" fmla="*/ 789940 w 1234440"/>
                  <a:gd name="connsiteY7-172" fmla="*/ 608965 h 1023620"/>
                  <a:gd name="connsiteX8-173" fmla="*/ 418465 w 1234440"/>
                  <a:gd name="connsiteY8-174" fmla="*/ 631190 h 1023620"/>
                  <a:gd name="connsiteX9-175" fmla="*/ 285115 w 1234440"/>
                  <a:gd name="connsiteY9-176" fmla="*/ 516890 h 1023620"/>
                  <a:gd name="connsiteX10-177" fmla="*/ 186690 w 1234440"/>
                  <a:gd name="connsiteY10-178" fmla="*/ 507365 h 1023620"/>
                  <a:gd name="connsiteX11-179" fmla="*/ 281940 w 1234440"/>
                  <a:gd name="connsiteY11-180" fmla="*/ 310515 h 1023620"/>
                  <a:gd name="connsiteX12-181" fmla="*/ 681990 w 1234440"/>
                  <a:gd name="connsiteY12-182" fmla="*/ 253365 h 1023620"/>
                  <a:gd name="connsiteX13-183" fmla="*/ 916940 w 1234440"/>
                  <a:gd name="connsiteY13-184" fmla="*/ 240665 h 1023620"/>
                  <a:gd name="connsiteX14-185" fmla="*/ 1072515 w 1234440"/>
                  <a:gd name="connsiteY14-186" fmla="*/ 180340 h 1023620"/>
                  <a:gd name="connsiteX15-187" fmla="*/ 999490 w 1234440"/>
                  <a:gd name="connsiteY15-188" fmla="*/ 0 h 1023620"/>
                  <a:gd name="connsiteX0-189" fmla="*/ 0 w 1234440"/>
                  <a:gd name="connsiteY0-190" fmla="*/ 1023620 h 1023620"/>
                  <a:gd name="connsiteX1-191" fmla="*/ 332740 w 1234440"/>
                  <a:gd name="connsiteY1-192" fmla="*/ 850265 h 1023620"/>
                  <a:gd name="connsiteX2-193" fmla="*/ 558165 w 1234440"/>
                  <a:gd name="connsiteY2-194" fmla="*/ 923290 h 1023620"/>
                  <a:gd name="connsiteX3-195" fmla="*/ 815340 w 1234440"/>
                  <a:gd name="connsiteY3-196" fmla="*/ 834390 h 1023620"/>
                  <a:gd name="connsiteX4-197" fmla="*/ 1145540 w 1234440"/>
                  <a:gd name="connsiteY4-198" fmla="*/ 821690 h 1023620"/>
                  <a:gd name="connsiteX5-199" fmla="*/ 1234440 w 1234440"/>
                  <a:gd name="connsiteY5-200" fmla="*/ 783590 h 1023620"/>
                  <a:gd name="connsiteX6-201" fmla="*/ 1209040 w 1234440"/>
                  <a:gd name="connsiteY6-202" fmla="*/ 656590 h 1023620"/>
                  <a:gd name="connsiteX7-203" fmla="*/ 789940 w 1234440"/>
                  <a:gd name="connsiteY7-204" fmla="*/ 608965 h 1023620"/>
                  <a:gd name="connsiteX8-205" fmla="*/ 418465 w 1234440"/>
                  <a:gd name="connsiteY8-206" fmla="*/ 631190 h 1023620"/>
                  <a:gd name="connsiteX9-207" fmla="*/ 285115 w 1234440"/>
                  <a:gd name="connsiteY9-208" fmla="*/ 516890 h 1023620"/>
                  <a:gd name="connsiteX10-209" fmla="*/ 186690 w 1234440"/>
                  <a:gd name="connsiteY10-210" fmla="*/ 507365 h 1023620"/>
                  <a:gd name="connsiteX11-211" fmla="*/ 281940 w 1234440"/>
                  <a:gd name="connsiteY11-212" fmla="*/ 310515 h 1023620"/>
                  <a:gd name="connsiteX12-213" fmla="*/ 681990 w 1234440"/>
                  <a:gd name="connsiteY12-214" fmla="*/ 253365 h 1023620"/>
                  <a:gd name="connsiteX13-215" fmla="*/ 916940 w 1234440"/>
                  <a:gd name="connsiteY13-216" fmla="*/ 240665 h 1023620"/>
                  <a:gd name="connsiteX14-217" fmla="*/ 1097915 w 1234440"/>
                  <a:gd name="connsiteY14-218" fmla="*/ 215900 h 1023620"/>
                  <a:gd name="connsiteX15-219" fmla="*/ 999490 w 1234440"/>
                  <a:gd name="connsiteY15-220" fmla="*/ 0 h 1023620"/>
                  <a:gd name="connsiteX0-221" fmla="*/ 0 w 1234440"/>
                  <a:gd name="connsiteY0-222" fmla="*/ 1023620 h 1023620"/>
                  <a:gd name="connsiteX1-223" fmla="*/ 332740 w 1234440"/>
                  <a:gd name="connsiteY1-224" fmla="*/ 850265 h 1023620"/>
                  <a:gd name="connsiteX2-225" fmla="*/ 558165 w 1234440"/>
                  <a:gd name="connsiteY2-226" fmla="*/ 923290 h 1023620"/>
                  <a:gd name="connsiteX3-227" fmla="*/ 815340 w 1234440"/>
                  <a:gd name="connsiteY3-228" fmla="*/ 834390 h 1023620"/>
                  <a:gd name="connsiteX4-229" fmla="*/ 1145540 w 1234440"/>
                  <a:gd name="connsiteY4-230" fmla="*/ 821690 h 1023620"/>
                  <a:gd name="connsiteX5-231" fmla="*/ 1234440 w 1234440"/>
                  <a:gd name="connsiteY5-232" fmla="*/ 783590 h 1023620"/>
                  <a:gd name="connsiteX6-233" fmla="*/ 1209040 w 1234440"/>
                  <a:gd name="connsiteY6-234" fmla="*/ 656590 h 1023620"/>
                  <a:gd name="connsiteX7-235" fmla="*/ 789940 w 1234440"/>
                  <a:gd name="connsiteY7-236" fmla="*/ 608965 h 1023620"/>
                  <a:gd name="connsiteX8-237" fmla="*/ 418465 w 1234440"/>
                  <a:gd name="connsiteY8-238" fmla="*/ 631190 h 1023620"/>
                  <a:gd name="connsiteX9-239" fmla="*/ 285115 w 1234440"/>
                  <a:gd name="connsiteY9-240" fmla="*/ 516890 h 1023620"/>
                  <a:gd name="connsiteX10-241" fmla="*/ 186690 w 1234440"/>
                  <a:gd name="connsiteY10-242" fmla="*/ 507365 h 1023620"/>
                  <a:gd name="connsiteX11-243" fmla="*/ 281940 w 1234440"/>
                  <a:gd name="connsiteY11-244" fmla="*/ 310515 h 1023620"/>
                  <a:gd name="connsiteX12-245" fmla="*/ 681990 w 1234440"/>
                  <a:gd name="connsiteY12-246" fmla="*/ 253365 h 1023620"/>
                  <a:gd name="connsiteX13-247" fmla="*/ 1097915 w 1234440"/>
                  <a:gd name="connsiteY13-248" fmla="*/ 215900 h 1023620"/>
                  <a:gd name="connsiteX14-249" fmla="*/ 999490 w 1234440"/>
                  <a:gd name="connsiteY14-250" fmla="*/ 0 h 1023620"/>
                  <a:gd name="connsiteX0-251" fmla="*/ 0 w 1234440"/>
                  <a:gd name="connsiteY0-252" fmla="*/ 1023620 h 1023620"/>
                  <a:gd name="connsiteX1-253" fmla="*/ 332740 w 1234440"/>
                  <a:gd name="connsiteY1-254" fmla="*/ 850265 h 1023620"/>
                  <a:gd name="connsiteX2-255" fmla="*/ 558165 w 1234440"/>
                  <a:gd name="connsiteY2-256" fmla="*/ 923290 h 1023620"/>
                  <a:gd name="connsiteX3-257" fmla="*/ 815340 w 1234440"/>
                  <a:gd name="connsiteY3-258" fmla="*/ 834390 h 1023620"/>
                  <a:gd name="connsiteX4-259" fmla="*/ 1145540 w 1234440"/>
                  <a:gd name="connsiteY4-260" fmla="*/ 821690 h 1023620"/>
                  <a:gd name="connsiteX5-261" fmla="*/ 1234440 w 1234440"/>
                  <a:gd name="connsiteY5-262" fmla="*/ 783590 h 1023620"/>
                  <a:gd name="connsiteX6-263" fmla="*/ 1209040 w 1234440"/>
                  <a:gd name="connsiteY6-264" fmla="*/ 656590 h 1023620"/>
                  <a:gd name="connsiteX7-265" fmla="*/ 789940 w 1234440"/>
                  <a:gd name="connsiteY7-266" fmla="*/ 608965 h 1023620"/>
                  <a:gd name="connsiteX8-267" fmla="*/ 418465 w 1234440"/>
                  <a:gd name="connsiteY8-268" fmla="*/ 631190 h 1023620"/>
                  <a:gd name="connsiteX9-269" fmla="*/ 285115 w 1234440"/>
                  <a:gd name="connsiteY9-270" fmla="*/ 516890 h 1023620"/>
                  <a:gd name="connsiteX10-271" fmla="*/ 186690 w 1234440"/>
                  <a:gd name="connsiteY10-272" fmla="*/ 507365 h 1023620"/>
                  <a:gd name="connsiteX11-273" fmla="*/ 281940 w 1234440"/>
                  <a:gd name="connsiteY11-274" fmla="*/ 310515 h 1023620"/>
                  <a:gd name="connsiteX12-275" fmla="*/ 687070 w 1234440"/>
                  <a:gd name="connsiteY12-276" fmla="*/ 339725 h 1023620"/>
                  <a:gd name="connsiteX13-277" fmla="*/ 1097915 w 1234440"/>
                  <a:gd name="connsiteY13-278" fmla="*/ 215900 h 1023620"/>
                  <a:gd name="connsiteX14-279" fmla="*/ 999490 w 1234440"/>
                  <a:gd name="connsiteY14-280" fmla="*/ 0 h 10236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Lst>
                <a:rect l="l" t="t" r="r" b="b"/>
                <a:pathLst>
                  <a:path w="1234440" h="1023620">
                    <a:moveTo>
                      <a:pt x="0" y="1023620"/>
                    </a:moveTo>
                    <a:lnTo>
                      <a:pt x="332740" y="850265"/>
                    </a:lnTo>
                    <a:lnTo>
                      <a:pt x="558165" y="923290"/>
                    </a:lnTo>
                    <a:lnTo>
                      <a:pt x="815340" y="834390"/>
                    </a:lnTo>
                    <a:lnTo>
                      <a:pt x="1145540" y="821690"/>
                    </a:lnTo>
                    <a:lnTo>
                      <a:pt x="1234440" y="783590"/>
                    </a:lnTo>
                    <a:lnTo>
                      <a:pt x="1209040" y="656590"/>
                    </a:lnTo>
                    <a:lnTo>
                      <a:pt x="789940" y="608965"/>
                    </a:lnTo>
                    <a:lnTo>
                      <a:pt x="418465" y="631190"/>
                    </a:lnTo>
                    <a:lnTo>
                      <a:pt x="285115" y="516890"/>
                    </a:lnTo>
                    <a:lnTo>
                      <a:pt x="186690" y="507365"/>
                    </a:lnTo>
                    <a:lnTo>
                      <a:pt x="281940" y="310515"/>
                    </a:lnTo>
                    <a:lnTo>
                      <a:pt x="687070" y="339725"/>
                    </a:lnTo>
                    <a:lnTo>
                      <a:pt x="1097915" y="215900"/>
                    </a:lnTo>
                    <a:lnTo>
                      <a:pt x="999490" y="0"/>
                    </a:lnTo>
                  </a:path>
                </a:pathLst>
              </a:cu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4" name="Picture 43"/>
            <p:cNvPicPr>
              <a:picLocks noChangeAspect="1"/>
            </p:cNvPicPr>
            <p:nvPr userDrawn="1"/>
          </p:nvPicPr>
          <p:blipFill>
            <a:blip r:embed="rId6">
              <a:duotone>
                <a:schemeClr val="accent1">
                  <a:shade val="45000"/>
                  <a:satMod val="135000"/>
                </a:schemeClr>
                <a:prstClr val="white"/>
              </a:duotone>
            </a:blip>
            <a:srcRect l="28301"/>
            <a:stretch>
              <a:fillRect/>
            </a:stretch>
          </p:blipFill>
          <p:spPr>
            <a:xfrm rot="20469780">
              <a:off x="3598290" y="3109595"/>
              <a:ext cx="359087" cy="717568"/>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grpSp>
          <p:nvGrpSpPr>
            <p:cNvPr id="115" name="Group 28"/>
            <p:cNvGrpSpPr/>
            <p:nvPr userDrawn="1"/>
          </p:nvGrpSpPr>
          <p:grpSpPr>
            <a:xfrm>
              <a:off x="2641594" y="1770890"/>
              <a:ext cx="614629" cy="1321737"/>
              <a:chOff x="2924175" y="1957388"/>
              <a:chExt cx="677076" cy="1456025"/>
            </a:xfrm>
          </p:grpSpPr>
          <p:pic>
            <p:nvPicPr>
              <p:cNvPr id="117" name="Picture 17"/>
              <p:cNvPicPr>
                <a:picLocks noChangeAspect="1"/>
              </p:cNvPicPr>
              <p:nvPr/>
            </p:nvPicPr>
            <p:blipFill>
              <a:blip r:embed="rId7">
                <a:duotone>
                  <a:schemeClr val="accent1">
                    <a:shade val="45000"/>
                    <a:satMod val="135000"/>
                  </a:schemeClr>
                  <a:prstClr val="white"/>
                </a:duotone>
              </a:blip>
              <a:stretch>
                <a:fillRect/>
              </a:stretch>
            </p:blipFill>
            <p:spPr>
              <a:xfrm>
                <a:off x="2927736" y="1965514"/>
                <a:ext cx="673515" cy="1447899"/>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sp>
            <p:nvSpPr>
              <p:cNvPr id="118" name="Freeform 27"/>
              <p:cNvSpPr/>
              <p:nvPr/>
            </p:nvSpPr>
            <p:spPr>
              <a:xfrm>
                <a:off x="2924175" y="1957388"/>
                <a:ext cx="260350" cy="412750"/>
              </a:xfrm>
              <a:custGeom>
                <a:avLst/>
                <a:gdLst>
                  <a:gd name="connsiteX0" fmla="*/ 260350 w 260350"/>
                  <a:gd name="connsiteY0" fmla="*/ 412750 h 412750"/>
                  <a:gd name="connsiteX1" fmla="*/ 0 w 260350"/>
                  <a:gd name="connsiteY1" fmla="*/ 0 h 412750"/>
                </a:gdLst>
                <a:ahLst/>
                <a:cxnLst>
                  <a:cxn ang="0">
                    <a:pos x="connsiteX0" y="connsiteY0"/>
                  </a:cxn>
                  <a:cxn ang="0">
                    <a:pos x="connsiteX1" y="connsiteY1"/>
                  </a:cxn>
                </a:cxnLst>
                <a:rect l="l" t="t" r="r" b="b"/>
                <a:pathLst>
                  <a:path w="260350" h="412750">
                    <a:moveTo>
                      <a:pt x="260350" y="412750"/>
                    </a:moveTo>
                    <a:lnTo>
                      <a:pt x="0" y="0"/>
                    </a:lnTo>
                  </a:path>
                </a:pathLst>
              </a:custGeom>
              <a:noFill/>
              <a:ln w="6350" cap="rnd" cmpd="sng" algn="ctr">
                <a:solidFill>
                  <a:srgbClr val="8B8B8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6" name="Picture 18"/>
            <p:cNvPicPr>
              <a:picLocks noChangeAspect="1"/>
            </p:cNvPicPr>
            <p:nvPr userDrawn="1"/>
          </p:nvPicPr>
          <p:blipFill>
            <a:blip r:embed="rId8">
              <a:duotone>
                <a:schemeClr val="accent1">
                  <a:shade val="45000"/>
                  <a:satMod val="135000"/>
                </a:schemeClr>
                <a:prstClr val="white"/>
              </a:duotone>
            </a:blip>
            <a:stretch>
              <a:fillRect/>
            </a:stretch>
          </p:blipFill>
          <p:spPr>
            <a:xfrm>
              <a:off x="4789934" y="4555346"/>
              <a:ext cx="369683" cy="496708"/>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gr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9" name="Arc 107"/>
          <p:cNvSpPr/>
          <p:nvPr userDrawn="1"/>
        </p:nvSpPr>
        <p:spPr>
          <a:xfrm flipH="1">
            <a:off x="3943350" y="1517933"/>
            <a:ext cx="4305300" cy="4305300"/>
          </a:xfrm>
          <a:prstGeom prst="arc">
            <a:avLst>
              <a:gd name="adj1" fmla="val 16200000"/>
              <a:gd name="adj2" fmla="val 5090665"/>
            </a:avLst>
          </a:prstGeom>
          <a:noFill/>
          <a:ln w="25400" cap="rnd" cmpd="sng" algn="ctr">
            <a:gradFill flip="none" rotWithShape="1">
              <a:gsLst>
                <a:gs pos="0">
                  <a:schemeClr val="bg1">
                    <a:lumMod val="50000"/>
                    <a:alpha val="0"/>
                  </a:schemeClr>
                </a:gs>
                <a:gs pos="100000">
                  <a:schemeClr val="bg1">
                    <a:lumMod val="50000"/>
                  </a:schemeClr>
                </a:gs>
              </a:gsLst>
              <a:lin ang="0" scaled="1"/>
              <a:tileRect/>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a:solidFill>
                <a:srgbClr val="FFFFFF"/>
              </a:solidFill>
            </a:endParaRPr>
          </a:p>
        </p:txBody>
      </p:sp>
      <p:sp>
        <p:nvSpPr>
          <p:cNvPr id="120" name="Oval 174"/>
          <p:cNvSpPr/>
          <p:nvPr userDrawn="1"/>
        </p:nvSpPr>
        <p:spPr>
          <a:xfrm>
            <a:off x="4311650" y="1886233"/>
            <a:ext cx="3568700" cy="3568700"/>
          </a:xfrm>
          <a:prstGeom prst="ellipse">
            <a:avLst/>
          </a:prstGeom>
          <a:noFill/>
          <a:ln w="28575" cap="rnd" cmpd="sng" algn="ctr">
            <a:solidFill>
              <a:schemeClr val="bg1">
                <a:lumMod val="50000"/>
                <a:alpha val="10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21" name="Oval 9"/>
          <p:cNvSpPr/>
          <p:nvPr userDrawn="1"/>
        </p:nvSpPr>
        <p:spPr>
          <a:xfrm>
            <a:off x="4679950" y="2254533"/>
            <a:ext cx="2832100" cy="2832100"/>
          </a:xfrm>
          <a:prstGeom prst="ellipse">
            <a:avLst/>
          </a:prstGeom>
          <a:solidFill>
            <a:schemeClr val="accent1"/>
          </a:solidFill>
          <a:ln w="9525" cap="rnd" cmpd="sng" algn="ctr">
            <a:solidFill>
              <a:schemeClr val="bg1">
                <a:lumMod val="50000"/>
                <a:alpha val="3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22" name="Arc 1"/>
          <p:cNvSpPr/>
          <p:nvPr userDrawn="1"/>
        </p:nvSpPr>
        <p:spPr>
          <a:xfrm>
            <a:off x="3943350" y="1517933"/>
            <a:ext cx="4305300" cy="4305300"/>
          </a:xfrm>
          <a:prstGeom prst="arc">
            <a:avLst>
              <a:gd name="adj1" fmla="val 16200000"/>
              <a:gd name="adj2" fmla="val 5090665"/>
            </a:avLst>
          </a:prstGeom>
          <a:noFill/>
          <a:ln w="25400" cap="rnd" cmpd="sng" algn="ctr">
            <a:gradFill flip="none" rotWithShape="1">
              <a:gsLst>
                <a:gs pos="0">
                  <a:schemeClr val="bg1">
                    <a:lumMod val="50000"/>
                    <a:alpha val="0"/>
                  </a:schemeClr>
                </a:gs>
                <a:gs pos="100000">
                  <a:schemeClr val="bg1">
                    <a:lumMod val="50000"/>
                  </a:schemeClr>
                </a:gs>
              </a:gsLst>
              <a:lin ang="0" scaled="1"/>
              <a:tileRect/>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a:solidFill>
                <a:srgbClr val="FFFFFF"/>
              </a:solidFill>
            </a:endParaRPr>
          </a:p>
        </p:txBody>
      </p:sp>
      <p:pic>
        <p:nvPicPr>
          <p:cNvPr id="124" name="图片 1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18499" y="1860740"/>
            <a:ext cx="1755002" cy="3619686"/>
          </a:xfrm>
          <a:prstGeom prst="rect">
            <a:avLst/>
          </a:prstGeom>
          <a:effectLst>
            <a:outerShdw blurRad="50800" dist="38100" dir="2700000" algn="tl" rotWithShape="0">
              <a:prstClr val="black">
                <a:alpha val="40000"/>
              </a:prstClr>
            </a:outerShdw>
          </a:effectLst>
        </p:spPr>
      </p:pic>
      <p:sp>
        <p:nvSpPr>
          <p:cNvPr id="7" name="图片占位符 6"/>
          <p:cNvSpPr>
            <a:spLocks noGrp="1"/>
          </p:cNvSpPr>
          <p:nvPr>
            <p:ph type="pic" sz="quarter" idx="10"/>
          </p:nvPr>
        </p:nvSpPr>
        <p:spPr>
          <a:xfrm>
            <a:off x="5349419" y="2188833"/>
            <a:ext cx="1490662" cy="2960121"/>
          </a:xfrm>
          <a:solidFill>
            <a:schemeClr val="accent1">
              <a:lumMod val="20000"/>
              <a:lumOff val="80000"/>
            </a:schemeClr>
          </a:solidFill>
        </p:spPr>
        <p:txBody>
          <a:bodyPr/>
          <a:lstStyle/>
          <a:p>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6965018" y="1196975"/>
            <a:ext cx="4747557" cy="4666145"/>
            <a:chOff x="6965018" y="1196975"/>
            <a:chExt cx="4747557" cy="4666145"/>
          </a:xfrm>
        </p:grpSpPr>
        <p:sp>
          <p:nvSpPr>
            <p:cNvPr id="113" name="Oval 9"/>
            <p:cNvSpPr/>
            <p:nvPr/>
          </p:nvSpPr>
          <p:spPr>
            <a:xfrm>
              <a:off x="7295821" y="1196975"/>
              <a:ext cx="4416754" cy="4416754"/>
            </a:xfrm>
            <a:prstGeom prst="ellipse">
              <a:avLst/>
            </a:prstGeom>
            <a:solidFill>
              <a:schemeClr val="accent1">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14" name="Oval 9"/>
            <p:cNvSpPr/>
            <p:nvPr/>
          </p:nvSpPr>
          <p:spPr>
            <a:xfrm>
              <a:off x="6965018" y="1446366"/>
              <a:ext cx="4416754" cy="4416754"/>
            </a:xfrm>
            <a:prstGeom prst="ellipse">
              <a:avLst/>
            </a:prstGeom>
            <a:solidFill>
              <a:schemeClr val="accent1">
                <a:lumMod val="20000"/>
                <a:lumOff val="8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a:solidFill>
                    <a:schemeClr val="bg1">
                      <a:lumMod val="50000"/>
                      <a:alpha val="3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15" name="Oval 9"/>
            <p:cNvSpPr/>
            <p:nvPr/>
          </p:nvSpPr>
          <p:spPr>
            <a:xfrm>
              <a:off x="7127276" y="1347446"/>
              <a:ext cx="4416754" cy="4416754"/>
            </a:xfrm>
            <a:prstGeom prst="ellipse">
              <a:avLst/>
            </a:prstGeom>
            <a:solidFill>
              <a:schemeClr val="accent1"/>
            </a:solidFill>
            <a:ln w="9525" cap="rnd" cmpd="sng" algn="ctr">
              <a:noFill/>
              <a:prstDash val="solid"/>
              <a:round/>
              <a:headEnd type="none" w="med" len="med"/>
              <a:tailEnd type="none" w="med" len="med"/>
            </a:ln>
            <a:effectLst/>
            <a:extLst>
              <a:ext uri="{91240B29-F687-4F45-9708-019B960494DF}">
                <a14:hiddenLine xmlns:a14="http://schemas.microsoft.com/office/drawing/2010/main" w="9525">
                  <a:solidFill>
                    <a:schemeClr val="bg1">
                      <a:lumMod val="50000"/>
                      <a:alpha val="3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grpSp>
      <p:pic>
        <p:nvPicPr>
          <p:cNvPr id="117" name="Picture 3"/>
          <p:cNvPicPr>
            <a:picLocks noChangeAspect="1"/>
          </p:cNvPicPr>
          <p:nvPr/>
        </p:nvPicPr>
        <p:blipFill rotWithShape="1">
          <a:blip r:embed="rId3">
            <a:extLst>
              <a:ext uri="{28A0092B-C50C-407E-A947-70E740481C1C}">
                <a14:useLocalDpi xmlns:a14="http://schemas.microsoft.com/office/drawing/2010/main" val="0"/>
              </a:ext>
            </a:extLst>
          </a:blip>
          <a:srcRect l="20107" t="7071" b="11482"/>
          <a:stretch>
            <a:fillRect/>
          </a:stretch>
        </p:blipFill>
        <p:spPr>
          <a:xfrm>
            <a:off x="7666730" y="1574157"/>
            <a:ext cx="4717262" cy="6063864"/>
          </a:xfrm>
          <a:prstGeom prst="rect">
            <a:avLst/>
          </a:prstGeom>
          <a:effectLst>
            <a:outerShdw blurRad="50800" dist="38100" dir="2700000" algn="tl" rotWithShape="0">
              <a:prstClr val="black">
                <a:alpha val="40000"/>
              </a:prstClr>
            </a:outerShdw>
          </a:effectLst>
        </p:spPr>
      </p:pic>
      <p:pic>
        <p:nvPicPr>
          <p:cNvPr id="119" name="图片 1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0595" y="1548224"/>
            <a:ext cx="2154575" cy="4443804"/>
          </a:xfrm>
          <a:prstGeom prst="rect">
            <a:avLst/>
          </a:prstGeom>
        </p:spPr>
      </p:pic>
      <p:sp>
        <p:nvSpPr>
          <p:cNvPr id="7" name="图片占位符 6"/>
          <p:cNvSpPr>
            <a:spLocks noGrp="1"/>
          </p:cNvSpPr>
          <p:nvPr>
            <p:ph type="pic" sz="quarter" idx="10"/>
          </p:nvPr>
        </p:nvSpPr>
        <p:spPr>
          <a:xfrm>
            <a:off x="8261323" y="1951016"/>
            <a:ext cx="1830051" cy="3634071"/>
          </a:xfrm>
          <a:solidFill>
            <a:schemeClr val="accent1">
              <a:lumMod val="20000"/>
              <a:lumOff val="80000"/>
            </a:schemeClr>
          </a:solidFill>
        </p:spPr>
        <p:txBody>
          <a:bodyPr/>
          <a:lstStyle/>
          <a:p>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ísļïḑé"/>
          <p:cNvSpPr/>
          <p:nvPr userDrawn="1"/>
        </p:nvSpPr>
        <p:spPr bwMode="auto">
          <a:xfrm>
            <a:off x="1" y="0"/>
            <a:ext cx="5239656" cy="6110514"/>
          </a:xfrm>
          <a:custGeom>
            <a:avLst/>
            <a:gdLst>
              <a:gd name="connsiteX0" fmla="*/ 0 w 5239656"/>
              <a:gd name="connsiteY0" fmla="*/ 0 h 6110514"/>
              <a:gd name="connsiteX1" fmla="*/ 4971607 w 5239656"/>
              <a:gd name="connsiteY1" fmla="*/ 0 h 6110514"/>
              <a:gd name="connsiteX2" fmla="*/ 5018447 w 5239656"/>
              <a:gd name="connsiteY2" fmla="*/ 120096 h 6110514"/>
              <a:gd name="connsiteX3" fmla="*/ 5239656 w 5239656"/>
              <a:gd name="connsiteY3" fmla="*/ 1493157 h 6110514"/>
              <a:gd name="connsiteX4" fmla="*/ 319313 w 5239656"/>
              <a:gd name="connsiteY4" fmla="*/ 6110514 h 6110514"/>
              <a:gd name="connsiteX5" fmla="*/ 66113 w 5239656"/>
              <a:gd name="connsiteY5" fmla="*/ 6104506 h 6110514"/>
              <a:gd name="connsiteX6" fmla="*/ 0 w 5239656"/>
              <a:gd name="connsiteY6" fmla="*/ 6099788 h 6110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9656" h="6110514">
                <a:moveTo>
                  <a:pt x="0" y="0"/>
                </a:moveTo>
                <a:lnTo>
                  <a:pt x="4971607" y="0"/>
                </a:lnTo>
                <a:lnTo>
                  <a:pt x="5018447" y="120096"/>
                </a:lnTo>
                <a:cubicBezTo>
                  <a:pt x="5162210" y="553846"/>
                  <a:pt x="5239656" y="1015014"/>
                  <a:pt x="5239656" y="1493157"/>
                </a:cubicBezTo>
                <a:cubicBezTo>
                  <a:pt x="5239656" y="4043253"/>
                  <a:pt x="3036743" y="6110514"/>
                  <a:pt x="319313" y="6110514"/>
                </a:cubicBezTo>
                <a:cubicBezTo>
                  <a:pt x="234394" y="6110514"/>
                  <a:pt x="149977" y="6108495"/>
                  <a:pt x="66113" y="6104506"/>
                </a:cubicBezTo>
                <a:lnTo>
                  <a:pt x="0" y="6099788"/>
                </a:lnTo>
                <a:close/>
              </a:path>
            </a:pathLst>
          </a:cu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cs typeface="+mn-ea"/>
              <a:sym typeface="+mn-lt"/>
            </a:endParaRPr>
          </a:p>
        </p:txBody>
      </p:sp>
      <p:grpSp>
        <p:nvGrpSpPr>
          <p:cNvPr id="114" name="íSḷíďê"/>
          <p:cNvGrpSpPr/>
          <p:nvPr/>
        </p:nvGrpSpPr>
        <p:grpSpPr>
          <a:xfrm>
            <a:off x="685801" y="1447800"/>
            <a:ext cx="5445422" cy="4573492"/>
            <a:chOff x="1127448" y="1664803"/>
            <a:chExt cx="4844146" cy="4068453"/>
          </a:xfrm>
        </p:grpSpPr>
        <p:sp>
          <p:nvSpPr>
            <p:cNvPr id="116" name="íṩ1îďe"/>
            <p:cNvSpPr/>
            <p:nvPr/>
          </p:nvSpPr>
          <p:spPr bwMode="auto">
            <a:xfrm>
              <a:off x="2672089" y="5707399"/>
              <a:ext cx="1779597" cy="25857"/>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p:spPr>
          <p:txBody>
            <a:bodyPr wrap="none" anchor="ctr"/>
            <a:lstStyle/>
            <a:p>
              <a:endParaRPr lang="en-US">
                <a:cs typeface="+mn-ea"/>
                <a:sym typeface="+mn-lt"/>
              </a:endParaRPr>
            </a:p>
          </p:txBody>
        </p:sp>
        <p:sp>
          <p:nvSpPr>
            <p:cNvPr id="117" name="ïšļíḑè"/>
            <p:cNvSpPr/>
            <p:nvPr/>
          </p:nvSpPr>
          <p:spPr bwMode="auto">
            <a:xfrm>
              <a:off x="1127448" y="1664803"/>
              <a:ext cx="4844146" cy="2931894"/>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chemeClr val="tx1"/>
            </a:solidFill>
            <a:ln>
              <a:noFill/>
            </a:ln>
            <a:effectLst/>
          </p:spPr>
          <p:txBody>
            <a:bodyPr wrap="none" anchor="ctr"/>
            <a:lstStyle/>
            <a:p>
              <a:endParaRPr lang="en-US">
                <a:cs typeface="+mn-ea"/>
                <a:sym typeface="+mn-lt"/>
              </a:endParaRPr>
            </a:p>
          </p:txBody>
        </p:sp>
        <p:sp>
          <p:nvSpPr>
            <p:cNvPr id="118" name="iŝ1ïḑè"/>
            <p:cNvSpPr/>
            <p:nvPr/>
          </p:nvSpPr>
          <p:spPr bwMode="auto">
            <a:xfrm>
              <a:off x="2672089" y="5131812"/>
              <a:ext cx="1779597" cy="590202"/>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p:spPr>
          <p:txBody>
            <a:bodyPr wrap="none" anchor="ctr"/>
            <a:lstStyle/>
            <a:p>
              <a:endParaRPr lang="en-US">
                <a:cs typeface="+mn-ea"/>
                <a:sym typeface="+mn-lt"/>
              </a:endParaRPr>
            </a:p>
          </p:txBody>
        </p:sp>
        <p:sp>
          <p:nvSpPr>
            <p:cNvPr id="119" name="íŝ1ïḑe"/>
            <p:cNvSpPr/>
            <p:nvPr/>
          </p:nvSpPr>
          <p:spPr bwMode="auto">
            <a:xfrm>
              <a:off x="1127448" y="4596697"/>
              <a:ext cx="4844146" cy="536240"/>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p:spPr>
          <p:txBody>
            <a:bodyPr wrap="none" anchor="ctr"/>
            <a:lstStyle/>
            <a:p>
              <a:endParaRPr lang="en-US">
                <a:cs typeface="+mn-ea"/>
                <a:sym typeface="+mn-lt"/>
              </a:endParaRPr>
            </a:p>
          </p:txBody>
        </p:sp>
        <p:sp>
          <p:nvSpPr>
            <p:cNvPr id="120" name="ï$ļíḍe"/>
            <p:cNvSpPr/>
            <p:nvPr/>
          </p:nvSpPr>
          <p:spPr bwMode="auto">
            <a:xfrm>
              <a:off x="2672089" y="5679295"/>
              <a:ext cx="1779597" cy="42719"/>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p:spPr>
          <p:txBody>
            <a:bodyPr wrap="none" anchor="ctr"/>
            <a:lstStyle/>
            <a:p>
              <a:endParaRPr lang="en-US">
                <a:cs typeface="+mn-ea"/>
                <a:sym typeface="+mn-lt"/>
              </a:endParaRPr>
            </a:p>
          </p:txBody>
        </p:sp>
        <p:sp>
          <p:nvSpPr>
            <p:cNvPr id="121" name="îŝļïḓê"/>
            <p:cNvSpPr/>
            <p:nvPr/>
          </p:nvSpPr>
          <p:spPr bwMode="auto">
            <a:xfrm>
              <a:off x="1354534" y="1877276"/>
              <a:ext cx="4387724" cy="2485589"/>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pattFill prst="pct5">
              <a:fgClr>
                <a:srgbClr val="E4E6EA"/>
              </a:fgClr>
              <a:bgClr>
                <a:srgbClr val="ADB5BF"/>
              </a:bgClr>
            </a:pattFill>
            <a:ln w="635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chemeClr val="lt1"/>
                </a:solidFill>
                <a:cs typeface="+mn-ea"/>
                <a:sym typeface="+mn-lt"/>
              </a:endParaRPr>
            </a:p>
          </p:txBody>
        </p:sp>
      </p:grpSp>
      <p:sp>
        <p:nvSpPr>
          <p:cNvPr id="7" name="图片占位符 6"/>
          <p:cNvSpPr>
            <a:spLocks noGrp="1"/>
          </p:cNvSpPr>
          <p:nvPr userDrawn="1">
            <p:ph type="pic" sz="quarter" idx="10"/>
          </p:nvPr>
        </p:nvSpPr>
        <p:spPr>
          <a:xfrm>
            <a:off x="909471" y="1700953"/>
            <a:ext cx="5062385" cy="2847770"/>
          </a:xfrm>
          <a:solidFill>
            <a:schemeClr val="accent1">
              <a:lumMod val="20000"/>
              <a:lumOff val="80000"/>
            </a:schemeClr>
          </a:solidFill>
        </p:spPr>
        <p:txBody>
          <a:bodyPr/>
          <a:lstStyle/>
          <a:p>
            <a:endParaRPr lang="en-US"/>
          </a:p>
        </p:txBody>
      </p:sp>
      <p:sp>
        <p:nvSpPr>
          <p:cNvPr id="123" name="任意多边形: 形状 122"/>
          <p:cNvSpPr/>
          <p:nvPr userDrawn="1"/>
        </p:nvSpPr>
        <p:spPr>
          <a:xfrm>
            <a:off x="11607478" y="0"/>
            <a:ext cx="584522" cy="584522"/>
          </a:xfrm>
          <a:custGeom>
            <a:avLst/>
            <a:gdLst>
              <a:gd name="connsiteX0" fmla="*/ 0 w 584522"/>
              <a:gd name="connsiteY0" fmla="*/ 0 h 584522"/>
              <a:gd name="connsiteX1" fmla="*/ 584522 w 584522"/>
              <a:gd name="connsiteY1" fmla="*/ 0 h 584522"/>
              <a:gd name="connsiteX2" fmla="*/ 584522 w 584522"/>
              <a:gd name="connsiteY2" fmla="*/ 584522 h 584522"/>
              <a:gd name="connsiteX3" fmla="*/ 0 w 584522"/>
              <a:gd name="connsiteY3" fmla="*/ 0 h 584522"/>
            </a:gdLst>
            <a:ahLst/>
            <a:cxnLst>
              <a:cxn ang="0">
                <a:pos x="connsiteX0" y="connsiteY0"/>
              </a:cxn>
              <a:cxn ang="0">
                <a:pos x="connsiteX1" y="connsiteY1"/>
              </a:cxn>
              <a:cxn ang="0">
                <a:pos x="connsiteX2" y="connsiteY2"/>
              </a:cxn>
              <a:cxn ang="0">
                <a:pos x="connsiteX3" y="connsiteY3"/>
              </a:cxn>
            </a:cxnLst>
            <a:rect l="l" t="t" r="r" b="b"/>
            <a:pathLst>
              <a:path w="584522" h="584522">
                <a:moveTo>
                  <a:pt x="0" y="0"/>
                </a:moveTo>
                <a:lnTo>
                  <a:pt x="584522" y="0"/>
                </a:lnTo>
                <a:lnTo>
                  <a:pt x="584522" y="584522"/>
                </a:lnTo>
                <a:cubicBezTo>
                  <a:pt x="261699" y="584522"/>
                  <a:pt x="0" y="322823"/>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4" name="任意多边形: 形状 123"/>
          <p:cNvSpPr/>
          <p:nvPr userDrawn="1"/>
        </p:nvSpPr>
        <p:spPr>
          <a:xfrm>
            <a:off x="10845478" y="5803909"/>
            <a:ext cx="1346522" cy="1054092"/>
          </a:xfrm>
          <a:custGeom>
            <a:avLst/>
            <a:gdLst>
              <a:gd name="connsiteX0" fmla="*/ 583355 w 731896"/>
              <a:gd name="connsiteY0" fmla="*/ 0 h 572947"/>
              <a:gd name="connsiteX1" fmla="*/ 701157 w 731896"/>
              <a:gd name="connsiteY1" fmla="*/ 11876 h 572947"/>
              <a:gd name="connsiteX2" fmla="*/ 731896 w 731896"/>
              <a:gd name="connsiteY2" fmla="*/ 21418 h 572947"/>
              <a:gd name="connsiteX3" fmla="*/ 731896 w 731896"/>
              <a:gd name="connsiteY3" fmla="*/ 572947 h 572947"/>
              <a:gd name="connsiteX4" fmla="*/ 0 w 731896"/>
              <a:gd name="connsiteY4" fmla="*/ 572947 h 572947"/>
              <a:gd name="connsiteX5" fmla="*/ 10708 w 731896"/>
              <a:gd name="connsiteY5" fmla="*/ 466721 h 572947"/>
              <a:gd name="connsiteX6" fmla="*/ 583355 w 731896"/>
              <a:gd name="connsiteY6" fmla="*/ 0 h 57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1896" h="572947">
                <a:moveTo>
                  <a:pt x="583355" y="0"/>
                </a:moveTo>
                <a:cubicBezTo>
                  <a:pt x="623708" y="0"/>
                  <a:pt x="663106" y="4089"/>
                  <a:pt x="701157" y="11876"/>
                </a:cubicBezTo>
                <a:lnTo>
                  <a:pt x="731896" y="21418"/>
                </a:lnTo>
                <a:lnTo>
                  <a:pt x="731896" y="572947"/>
                </a:lnTo>
                <a:lnTo>
                  <a:pt x="0" y="572947"/>
                </a:lnTo>
                <a:lnTo>
                  <a:pt x="10708" y="466721"/>
                </a:lnTo>
                <a:cubicBezTo>
                  <a:pt x="65213" y="200364"/>
                  <a:pt x="300885" y="0"/>
                  <a:pt x="583355"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40" name="î$ḻïḍe"/>
          <p:cNvGrpSpPr/>
          <p:nvPr userDrawn="1"/>
        </p:nvGrpSpPr>
        <p:grpSpPr>
          <a:xfrm>
            <a:off x="3235320" y="1399745"/>
            <a:ext cx="5213361" cy="5211118"/>
            <a:chOff x="3486142" y="768375"/>
            <a:chExt cx="5213361" cy="5211118"/>
          </a:xfrm>
        </p:grpSpPr>
        <p:grpSp>
          <p:nvGrpSpPr>
            <p:cNvPr id="141" name="iṡlîḓê"/>
            <p:cNvGrpSpPr/>
            <p:nvPr/>
          </p:nvGrpSpPr>
          <p:grpSpPr>
            <a:xfrm rot="10800000" flipH="1">
              <a:off x="7829550" y="2345419"/>
              <a:ext cx="869838" cy="772432"/>
              <a:chOff x="0" y="0"/>
              <a:chExt cx="1739674" cy="1544861"/>
            </a:xfrm>
          </p:grpSpPr>
          <p:sp>
            <p:nvSpPr>
              <p:cNvPr id="189" name="ïŝ1iḋé"/>
              <p:cNvSpPr/>
              <p:nvPr/>
            </p:nvSpPr>
            <p:spPr>
              <a:xfrm>
                <a:off x="0" y="0"/>
                <a:ext cx="1739674" cy="1544861"/>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0" name="isḷiďe"/>
              <p:cNvSpPr/>
              <p:nvPr/>
            </p:nvSpPr>
            <p:spPr>
              <a:xfrm>
                <a:off x="1217" y="350977"/>
                <a:ext cx="803717" cy="1150233"/>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1" name="îṣlïḑé"/>
              <p:cNvSpPr/>
              <p:nvPr/>
            </p:nvSpPr>
            <p:spPr>
              <a:xfrm>
                <a:off x="781456" y="140692"/>
                <a:ext cx="96982" cy="543382"/>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5"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2" name="îsļiḓe"/>
              <p:cNvSpPr/>
              <p:nvPr/>
            </p:nvSpPr>
            <p:spPr>
              <a:xfrm>
                <a:off x="765309" y="441612"/>
                <a:ext cx="52447" cy="249666"/>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3" name="ïšḷiďê"/>
              <p:cNvSpPr/>
              <p:nvPr/>
            </p:nvSpPr>
            <p:spPr>
              <a:xfrm>
                <a:off x="660523" y="79871"/>
                <a:ext cx="61513" cy="349071"/>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4" name="í$ḷiḍè"/>
              <p:cNvSpPr/>
              <p:nvPr/>
            </p:nvSpPr>
            <p:spPr>
              <a:xfrm>
                <a:off x="546906" y="157920"/>
                <a:ext cx="186260" cy="492441"/>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5" name="iSľîḑê"/>
              <p:cNvSpPr/>
              <p:nvPr/>
            </p:nvSpPr>
            <p:spPr>
              <a:xfrm>
                <a:off x="559787" y="402117"/>
                <a:ext cx="86119" cy="30889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6" name="ïs1ïdê"/>
              <p:cNvSpPr/>
              <p:nvPr/>
            </p:nvSpPr>
            <p:spPr>
              <a:xfrm>
                <a:off x="988981" y="300064"/>
                <a:ext cx="64155" cy="272446"/>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7"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7" name="íṥļiḍè"/>
              <p:cNvSpPr/>
              <p:nvPr/>
            </p:nvSpPr>
            <p:spPr>
              <a:xfrm>
                <a:off x="990391" y="684501"/>
                <a:ext cx="34949" cy="101228"/>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8" name="ïŝḻïḋè"/>
              <p:cNvSpPr/>
              <p:nvPr/>
            </p:nvSpPr>
            <p:spPr>
              <a:xfrm>
                <a:off x="1131550" y="472080"/>
                <a:ext cx="75241" cy="221220"/>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9" name="ïSlïḑé"/>
              <p:cNvSpPr/>
              <p:nvPr/>
            </p:nvSpPr>
            <p:spPr>
              <a:xfrm>
                <a:off x="1448507" y="1057375"/>
                <a:ext cx="146326" cy="362340"/>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200" name="íṣlïḑè"/>
              <p:cNvSpPr/>
              <p:nvPr/>
            </p:nvSpPr>
            <p:spPr>
              <a:xfrm>
                <a:off x="1571934" y="1064864"/>
                <a:ext cx="79514" cy="32882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201" name="íSľîḍé"/>
              <p:cNvSpPr/>
              <p:nvPr/>
            </p:nvSpPr>
            <p:spPr>
              <a:xfrm>
                <a:off x="1070024" y="353939"/>
                <a:ext cx="51348" cy="304423"/>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grpSp>
          <p:nvGrpSpPr>
            <p:cNvPr id="142" name="işļïďé"/>
            <p:cNvGrpSpPr/>
            <p:nvPr/>
          </p:nvGrpSpPr>
          <p:grpSpPr>
            <a:xfrm>
              <a:off x="4107518" y="1896440"/>
              <a:ext cx="3556001" cy="4083053"/>
              <a:chOff x="0" y="-1"/>
              <a:chExt cx="7112000" cy="8166105"/>
            </a:xfrm>
          </p:grpSpPr>
          <p:sp>
            <p:nvSpPr>
              <p:cNvPr id="176" name="ïšḷïḑè"/>
              <p:cNvSpPr/>
              <p:nvPr/>
            </p:nvSpPr>
            <p:spPr>
              <a:xfrm rot="10800000" flipH="1">
                <a:off x="0" y="-1"/>
                <a:ext cx="7112000" cy="8166105"/>
              </a:xfrm>
              <a:custGeom>
                <a:avLst/>
                <a:gdLst/>
                <a:ahLst/>
                <a:cxnLst>
                  <a:cxn ang="0">
                    <a:pos x="wd2" y="hd2"/>
                  </a:cxn>
                  <a:cxn ang="5400000">
                    <a:pos x="wd2" y="hd2"/>
                  </a:cxn>
                  <a:cxn ang="10800000">
                    <a:pos x="wd2" y="hd2"/>
                  </a:cxn>
                  <a:cxn ang="16200000">
                    <a:pos x="wd2" y="hd2"/>
                  </a:cxn>
                </a:cxnLst>
                <a:rect l="0" t="0" r="r" b="b"/>
                <a:pathLst>
                  <a:path w="21600" h="21505" extrusionOk="0">
                    <a:moveTo>
                      <a:pt x="0" y="19744"/>
                    </a:moveTo>
                    <a:lnTo>
                      <a:pt x="1796" y="20273"/>
                    </a:lnTo>
                    <a:cubicBezTo>
                      <a:pt x="1796" y="20273"/>
                      <a:pt x="3515" y="20562"/>
                      <a:pt x="3610" y="20664"/>
                    </a:cubicBezTo>
                    <a:cubicBezTo>
                      <a:pt x="3704" y="20767"/>
                      <a:pt x="5402" y="20873"/>
                      <a:pt x="5402" y="20873"/>
                    </a:cubicBezTo>
                    <a:cubicBezTo>
                      <a:pt x="5402" y="20873"/>
                      <a:pt x="6612" y="20980"/>
                      <a:pt x="6708" y="20980"/>
                    </a:cubicBezTo>
                    <a:cubicBezTo>
                      <a:pt x="6804" y="20980"/>
                      <a:pt x="8782" y="21122"/>
                      <a:pt x="8782" y="21122"/>
                    </a:cubicBezTo>
                    <a:lnTo>
                      <a:pt x="9857" y="21434"/>
                    </a:lnTo>
                    <a:lnTo>
                      <a:pt x="10574" y="21505"/>
                    </a:lnTo>
                    <a:lnTo>
                      <a:pt x="14169" y="21260"/>
                    </a:lnTo>
                    <a:lnTo>
                      <a:pt x="15332" y="21047"/>
                    </a:lnTo>
                    <a:cubicBezTo>
                      <a:pt x="15332" y="21047"/>
                      <a:pt x="16084" y="20834"/>
                      <a:pt x="16213" y="20834"/>
                    </a:cubicBezTo>
                    <a:cubicBezTo>
                      <a:pt x="16342" y="20834"/>
                      <a:pt x="17466" y="20834"/>
                      <a:pt x="17466" y="20834"/>
                    </a:cubicBezTo>
                    <a:cubicBezTo>
                      <a:pt x="17466" y="20834"/>
                      <a:pt x="18449" y="20936"/>
                      <a:pt x="18578" y="20834"/>
                    </a:cubicBezTo>
                    <a:cubicBezTo>
                      <a:pt x="18707" y="20731"/>
                      <a:pt x="19606" y="20727"/>
                      <a:pt x="19688" y="20624"/>
                    </a:cubicBezTo>
                    <a:cubicBezTo>
                      <a:pt x="19769" y="20522"/>
                      <a:pt x="20916" y="20451"/>
                      <a:pt x="20916" y="20451"/>
                    </a:cubicBezTo>
                    <a:lnTo>
                      <a:pt x="21600" y="20131"/>
                    </a:lnTo>
                    <a:lnTo>
                      <a:pt x="21354" y="18045"/>
                    </a:lnTo>
                    <a:cubicBezTo>
                      <a:pt x="21354" y="18045"/>
                      <a:pt x="21434" y="16726"/>
                      <a:pt x="21340" y="16036"/>
                    </a:cubicBezTo>
                    <a:cubicBezTo>
                      <a:pt x="21246" y="15347"/>
                      <a:pt x="21340" y="14858"/>
                      <a:pt x="21340" y="14858"/>
                    </a:cubicBezTo>
                    <a:lnTo>
                      <a:pt x="20909" y="13807"/>
                    </a:lnTo>
                    <a:lnTo>
                      <a:pt x="20392" y="13470"/>
                    </a:lnTo>
                    <a:lnTo>
                      <a:pt x="19789" y="12545"/>
                    </a:lnTo>
                    <a:lnTo>
                      <a:pt x="19301" y="12515"/>
                    </a:lnTo>
                    <a:lnTo>
                      <a:pt x="18812" y="11157"/>
                    </a:lnTo>
                    <a:lnTo>
                      <a:pt x="18554" y="10063"/>
                    </a:lnTo>
                    <a:lnTo>
                      <a:pt x="17865" y="8927"/>
                    </a:lnTo>
                    <a:lnTo>
                      <a:pt x="17146" y="8464"/>
                    </a:lnTo>
                    <a:lnTo>
                      <a:pt x="16629" y="7160"/>
                    </a:lnTo>
                    <a:lnTo>
                      <a:pt x="15883" y="6193"/>
                    </a:lnTo>
                    <a:lnTo>
                      <a:pt x="15538" y="4931"/>
                    </a:lnTo>
                    <a:lnTo>
                      <a:pt x="14002" y="6188"/>
                    </a:lnTo>
                    <a:lnTo>
                      <a:pt x="13662" y="4645"/>
                    </a:lnTo>
                    <a:lnTo>
                      <a:pt x="12858" y="3658"/>
                    </a:lnTo>
                    <a:lnTo>
                      <a:pt x="12275" y="4574"/>
                    </a:lnTo>
                    <a:lnTo>
                      <a:pt x="12235" y="2925"/>
                    </a:lnTo>
                    <a:lnTo>
                      <a:pt x="11740" y="2196"/>
                    </a:lnTo>
                    <a:lnTo>
                      <a:pt x="11151" y="934"/>
                    </a:lnTo>
                    <a:lnTo>
                      <a:pt x="10315" y="541"/>
                    </a:lnTo>
                    <a:lnTo>
                      <a:pt x="9851" y="556"/>
                    </a:lnTo>
                    <a:cubicBezTo>
                      <a:pt x="9851" y="556"/>
                      <a:pt x="9090" y="-95"/>
                      <a:pt x="9008" y="12"/>
                    </a:cubicBezTo>
                    <a:cubicBezTo>
                      <a:pt x="8926" y="119"/>
                      <a:pt x="8603" y="612"/>
                      <a:pt x="8603" y="612"/>
                    </a:cubicBezTo>
                    <a:lnTo>
                      <a:pt x="7955" y="51"/>
                    </a:lnTo>
                    <a:lnTo>
                      <a:pt x="6921" y="934"/>
                    </a:lnTo>
                    <a:lnTo>
                      <a:pt x="6394" y="1650"/>
                    </a:lnTo>
                    <a:lnTo>
                      <a:pt x="6187" y="2196"/>
                    </a:lnTo>
                    <a:lnTo>
                      <a:pt x="5399" y="2491"/>
                    </a:lnTo>
                    <a:lnTo>
                      <a:pt x="5168" y="4290"/>
                    </a:lnTo>
                    <a:lnTo>
                      <a:pt x="4129" y="6361"/>
                    </a:lnTo>
                    <a:lnTo>
                      <a:pt x="3589" y="7960"/>
                    </a:lnTo>
                    <a:lnTo>
                      <a:pt x="3589" y="9095"/>
                    </a:lnTo>
                    <a:lnTo>
                      <a:pt x="3362" y="10029"/>
                    </a:lnTo>
                    <a:lnTo>
                      <a:pt x="3022" y="10029"/>
                    </a:lnTo>
                    <a:lnTo>
                      <a:pt x="2454" y="10314"/>
                    </a:lnTo>
                    <a:lnTo>
                      <a:pt x="1779" y="10904"/>
                    </a:lnTo>
                    <a:lnTo>
                      <a:pt x="1111" y="11703"/>
                    </a:lnTo>
                    <a:lnTo>
                      <a:pt x="386" y="13807"/>
                    </a:lnTo>
                    <a:lnTo>
                      <a:pt x="73" y="18353"/>
                    </a:lnTo>
                    <a:lnTo>
                      <a:pt x="0" y="19744"/>
                    </a:lnTo>
                    <a:close/>
                  </a:path>
                </a:pathLst>
              </a:custGeom>
              <a:solidFill>
                <a:srgbClr val="9AB1CA"/>
              </a:solidFill>
              <a:ln w="25400" cap="flat">
                <a:solidFill>
                  <a:srgbClr val="000000">
                    <a:alpha val="0"/>
                  </a:srgbClr>
                </a:solidFill>
                <a:prstDash val="solid"/>
                <a:miter lim="400000"/>
              </a:ln>
              <a:effectLst>
                <a:outerShdw blurRad="1270000" dir="2700000" rotWithShape="0">
                  <a:srgbClr val="EEF3F4"/>
                </a:outerShdw>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7" name="íśḻîdê"/>
              <p:cNvSpPr/>
              <p:nvPr/>
            </p:nvSpPr>
            <p:spPr>
              <a:xfrm rot="10800000" flipH="1">
                <a:off x="4975" y="232898"/>
                <a:ext cx="3285692" cy="6137044"/>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6"/>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8" name="íśḷiďé"/>
              <p:cNvSpPr/>
              <p:nvPr/>
            </p:nvSpPr>
            <p:spPr>
              <a:xfrm rot="10800000" flipH="1">
                <a:off x="3194687" y="4592711"/>
                <a:ext cx="396470" cy="2899204"/>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9" name="îşļíḓè"/>
              <p:cNvSpPr/>
              <p:nvPr/>
            </p:nvSpPr>
            <p:spPr>
              <a:xfrm rot="10800000" flipH="1">
                <a:off x="3128678" y="4554276"/>
                <a:ext cx="214404" cy="1332085"/>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0" name="ïṥ1iďè"/>
              <p:cNvSpPr/>
              <p:nvPr/>
            </p:nvSpPr>
            <p:spPr>
              <a:xfrm rot="10800000" flipH="1">
                <a:off x="2700300" y="5953964"/>
                <a:ext cx="251473" cy="1862459"/>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1" name="ïṡlidè"/>
              <p:cNvSpPr/>
              <p:nvPr/>
            </p:nvSpPr>
            <p:spPr>
              <a:xfrm rot="10800000" flipH="1">
                <a:off x="2235821" y="4772592"/>
                <a:ext cx="761452" cy="2627404"/>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2" name="îşľïḍè"/>
              <p:cNvSpPr/>
              <p:nvPr/>
            </p:nvSpPr>
            <p:spPr>
              <a:xfrm rot="10800000" flipH="1">
                <a:off x="2288481" y="4448990"/>
                <a:ext cx="352062" cy="164809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4"/>
                    </a:lnTo>
                    <a:lnTo>
                      <a:pt x="15023" y="16821"/>
                    </a:lnTo>
                    <a:lnTo>
                      <a:pt x="7452" y="21600"/>
                    </a:lnTo>
                    <a:lnTo>
                      <a:pt x="7452" y="15979"/>
                    </a:lnTo>
                    <a:lnTo>
                      <a:pt x="11673" y="13231"/>
                    </a:lnTo>
                    <a:lnTo>
                      <a:pt x="10020" y="6302"/>
                    </a:lnTo>
                    <a:lnTo>
                      <a:pt x="2278" y="3865"/>
                    </a:lnTo>
                    <a:lnTo>
                      <a:pt x="0" y="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3" name="ïŝľíḍè"/>
              <p:cNvSpPr/>
              <p:nvPr/>
            </p:nvSpPr>
            <p:spPr>
              <a:xfrm rot="10800000" flipH="1">
                <a:off x="4043077" y="5187959"/>
                <a:ext cx="262270" cy="1453627"/>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4" name="î$lïďé"/>
              <p:cNvSpPr/>
              <p:nvPr/>
            </p:nvSpPr>
            <p:spPr>
              <a:xfrm rot="10800000" flipH="1">
                <a:off x="4048845" y="4050341"/>
                <a:ext cx="142872" cy="540097"/>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5" name="iṩ1íďe"/>
              <p:cNvSpPr/>
              <p:nvPr/>
            </p:nvSpPr>
            <p:spPr>
              <a:xfrm rot="10800000" flipH="1">
                <a:off x="4625921" y="4543488"/>
                <a:ext cx="307591" cy="1180312"/>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6" name="íṩlîḓé"/>
              <p:cNvSpPr/>
              <p:nvPr/>
            </p:nvSpPr>
            <p:spPr>
              <a:xfrm rot="10800000" flipH="1">
                <a:off x="5921678" y="667711"/>
                <a:ext cx="598193" cy="1933258"/>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7" name="îślíḍê"/>
              <p:cNvSpPr/>
              <p:nvPr/>
            </p:nvSpPr>
            <p:spPr>
              <a:xfrm rot="10800000" flipH="1">
                <a:off x="6426263" y="806576"/>
                <a:ext cx="325062" cy="17544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8" name="iŝļiḑê"/>
              <p:cNvSpPr/>
              <p:nvPr/>
            </p:nvSpPr>
            <p:spPr>
              <a:xfrm rot="10800000" flipH="1">
                <a:off x="4374389" y="4729903"/>
                <a:ext cx="209914" cy="1624240"/>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grpSp>
          <p:nvGrpSpPr>
            <p:cNvPr id="143" name="îś1íďê"/>
            <p:cNvGrpSpPr/>
            <p:nvPr/>
          </p:nvGrpSpPr>
          <p:grpSpPr>
            <a:xfrm>
              <a:off x="4105097" y="768375"/>
              <a:ext cx="3558952" cy="1648836"/>
              <a:chOff x="0" y="0"/>
              <a:chExt cx="7117900" cy="3297667"/>
            </a:xfrm>
          </p:grpSpPr>
          <p:grpSp>
            <p:nvGrpSpPr>
              <p:cNvPr id="161" name="íṥliḋê"/>
              <p:cNvGrpSpPr/>
              <p:nvPr/>
            </p:nvGrpSpPr>
            <p:grpSpPr>
              <a:xfrm>
                <a:off x="0" y="0"/>
                <a:ext cx="7117900" cy="3297667"/>
                <a:chOff x="0" y="0"/>
                <a:chExt cx="7117899" cy="3297666"/>
              </a:xfrm>
            </p:grpSpPr>
            <p:sp>
              <p:nvSpPr>
                <p:cNvPr id="163" name="iṡlîḍê"/>
                <p:cNvSpPr/>
                <p:nvPr/>
              </p:nvSpPr>
              <p:spPr>
                <a:xfrm>
                  <a:off x="0" y="0"/>
                  <a:ext cx="7117899" cy="3297666"/>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4"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C6D9EC"/>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4" name="iṧļîdé"/>
                <p:cNvSpPr/>
                <p:nvPr/>
              </p:nvSpPr>
              <p:spPr>
                <a:xfrm>
                  <a:off x="4979" y="749198"/>
                  <a:ext cx="3288416" cy="2455290"/>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5" name="i$ḻíḑê"/>
                <p:cNvSpPr/>
                <p:nvPr/>
              </p:nvSpPr>
              <p:spPr>
                <a:xfrm>
                  <a:off x="3197337" y="300323"/>
                  <a:ext cx="396800" cy="1159904"/>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6" name="iśḻîďe"/>
                <p:cNvSpPr/>
                <p:nvPr/>
              </p:nvSpPr>
              <p:spPr>
                <a:xfrm>
                  <a:off x="3131275" y="942667"/>
                  <a:ext cx="214582" cy="532938"/>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7" name="i$ḷíďe"/>
                <p:cNvSpPr/>
                <p:nvPr/>
              </p:nvSpPr>
              <p:spPr>
                <a:xfrm>
                  <a:off x="2702539" y="170493"/>
                  <a:ext cx="251681" cy="745127"/>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8" name="işḷiḋé"/>
                <p:cNvSpPr/>
                <p:nvPr/>
              </p:nvSpPr>
              <p:spPr>
                <a:xfrm>
                  <a:off x="2237675" y="337096"/>
                  <a:ext cx="762084" cy="1051165"/>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9" name="ïṣ1îḍê"/>
                <p:cNvSpPr/>
                <p:nvPr/>
              </p:nvSpPr>
              <p:spPr>
                <a:xfrm>
                  <a:off x="2290378" y="858363"/>
                  <a:ext cx="352354" cy="6593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0" name="iṧlîḋe"/>
                <p:cNvSpPr/>
                <p:nvPr/>
              </p:nvSpPr>
              <p:spPr>
                <a:xfrm>
                  <a:off x="4046432" y="640520"/>
                  <a:ext cx="262488" cy="581563"/>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1" name="ïṥ1îḋè"/>
                <p:cNvSpPr/>
                <p:nvPr/>
              </p:nvSpPr>
              <p:spPr>
                <a:xfrm>
                  <a:off x="4052202" y="1461137"/>
                  <a:ext cx="142991" cy="216081"/>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2" name="iśľiḑe"/>
                <p:cNvSpPr/>
                <p:nvPr/>
              </p:nvSpPr>
              <p:spPr>
                <a:xfrm>
                  <a:off x="4629757" y="1007704"/>
                  <a:ext cx="307847" cy="472216"/>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3" name="išḻíḓe"/>
                <p:cNvSpPr/>
                <p:nvPr/>
              </p:nvSpPr>
              <p:spPr>
                <a:xfrm>
                  <a:off x="5926593" y="2257078"/>
                  <a:ext cx="598688" cy="773451"/>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4" name="îsḻíḑê"/>
                <p:cNvSpPr/>
                <p:nvPr/>
              </p:nvSpPr>
              <p:spPr>
                <a:xfrm>
                  <a:off x="6431593" y="2273063"/>
                  <a:ext cx="325331" cy="7019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5" name="ïṥḻïḍe"/>
                <p:cNvSpPr/>
                <p:nvPr/>
              </p:nvSpPr>
              <p:spPr>
                <a:xfrm>
                  <a:off x="4378017" y="755520"/>
                  <a:ext cx="210089" cy="649821"/>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sp>
            <p:nvSpPr>
              <p:cNvPr id="162" name="ïṩ1íḋè"/>
              <p:cNvSpPr/>
              <p:nvPr/>
            </p:nvSpPr>
            <p:spPr>
              <a:xfrm>
                <a:off x="3364071" y="1776645"/>
                <a:ext cx="2441728" cy="1430557"/>
              </a:xfrm>
              <a:custGeom>
                <a:avLst/>
                <a:gdLst/>
                <a:ahLst/>
                <a:cxnLst>
                  <a:cxn ang="0">
                    <a:pos x="wd2" y="hd2"/>
                  </a:cxn>
                  <a:cxn ang="5400000">
                    <a:pos x="wd2" y="hd2"/>
                  </a:cxn>
                  <a:cxn ang="10800000">
                    <a:pos x="wd2" y="hd2"/>
                  </a:cxn>
                  <a:cxn ang="16200000">
                    <a:pos x="wd2" y="hd2"/>
                  </a:cxn>
                </a:cxnLst>
                <a:rect l="0" t="0" r="r" b="b"/>
                <a:pathLst>
                  <a:path w="21600" h="21600" extrusionOk="0">
                    <a:moveTo>
                      <a:pt x="316" y="11035"/>
                    </a:moveTo>
                    <a:lnTo>
                      <a:pt x="309" y="21600"/>
                    </a:lnTo>
                    <a:lnTo>
                      <a:pt x="2131" y="21355"/>
                    </a:lnTo>
                    <a:cubicBezTo>
                      <a:pt x="2131" y="21355"/>
                      <a:pt x="4206" y="20144"/>
                      <a:pt x="4505" y="20144"/>
                    </a:cubicBezTo>
                    <a:cubicBezTo>
                      <a:pt x="4805" y="20144"/>
                      <a:pt x="8166" y="20144"/>
                      <a:pt x="8166" y="20144"/>
                    </a:cubicBezTo>
                    <a:lnTo>
                      <a:pt x="11012" y="20389"/>
                    </a:lnTo>
                    <a:lnTo>
                      <a:pt x="14756" y="20155"/>
                    </a:lnTo>
                    <a:lnTo>
                      <a:pt x="17188" y="19910"/>
                    </a:lnTo>
                    <a:lnTo>
                      <a:pt x="20084" y="19665"/>
                    </a:lnTo>
                    <a:lnTo>
                      <a:pt x="20084" y="18454"/>
                    </a:lnTo>
                    <a:lnTo>
                      <a:pt x="21600" y="16673"/>
                    </a:lnTo>
                    <a:lnTo>
                      <a:pt x="20683" y="13598"/>
                    </a:lnTo>
                    <a:lnTo>
                      <a:pt x="18149" y="9536"/>
                    </a:lnTo>
                    <a:lnTo>
                      <a:pt x="18862" y="14412"/>
                    </a:lnTo>
                    <a:lnTo>
                      <a:pt x="19505" y="15360"/>
                    </a:lnTo>
                    <a:lnTo>
                      <a:pt x="18793" y="16969"/>
                    </a:lnTo>
                    <a:lnTo>
                      <a:pt x="17888" y="16633"/>
                    </a:lnTo>
                    <a:lnTo>
                      <a:pt x="16825" y="15259"/>
                    </a:lnTo>
                    <a:lnTo>
                      <a:pt x="15762" y="16236"/>
                    </a:lnTo>
                    <a:lnTo>
                      <a:pt x="15310" y="17213"/>
                    </a:lnTo>
                    <a:lnTo>
                      <a:pt x="12865" y="17295"/>
                    </a:lnTo>
                    <a:cubicBezTo>
                      <a:pt x="12865" y="17295"/>
                      <a:pt x="12521" y="15656"/>
                      <a:pt x="12967" y="15187"/>
                    </a:cubicBezTo>
                    <a:cubicBezTo>
                      <a:pt x="13413" y="14718"/>
                      <a:pt x="14285" y="14240"/>
                      <a:pt x="14686" y="14240"/>
                    </a:cubicBezTo>
                    <a:cubicBezTo>
                      <a:pt x="15088" y="14240"/>
                      <a:pt x="15699" y="13099"/>
                      <a:pt x="15699" y="13099"/>
                    </a:cubicBezTo>
                    <a:lnTo>
                      <a:pt x="15546" y="11236"/>
                    </a:lnTo>
                    <a:lnTo>
                      <a:pt x="12949" y="10748"/>
                    </a:lnTo>
                    <a:lnTo>
                      <a:pt x="12796" y="8875"/>
                    </a:lnTo>
                    <a:lnTo>
                      <a:pt x="11020" y="7908"/>
                    </a:lnTo>
                    <a:cubicBezTo>
                      <a:pt x="11020" y="7908"/>
                      <a:pt x="11166" y="8693"/>
                      <a:pt x="11313" y="9100"/>
                    </a:cubicBezTo>
                    <a:cubicBezTo>
                      <a:pt x="11460" y="9507"/>
                      <a:pt x="11912" y="12907"/>
                      <a:pt x="11912" y="12907"/>
                    </a:cubicBezTo>
                    <a:lnTo>
                      <a:pt x="11453" y="16298"/>
                    </a:lnTo>
                    <a:lnTo>
                      <a:pt x="10129" y="17418"/>
                    </a:lnTo>
                    <a:cubicBezTo>
                      <a:pt x="10129" y="17418"/>
                      <a:pt x="9524" y="17390"/>
                      <a:pt x="9524" y="16197"/>
                    </a:cubicBezTo>
                    <a:cubicBezTo>
                      <a:pt x="9524" y="15005"/>
                      <a:pt x="9524" y="14272"/>
                      <a:pt x="9524" y="14272"/>
                    </a:cubicBezTo>
                    <a:cubicBezTo>
                      <a:pt x="9524" y="14272"/>
                      <a:pt x="8754" y="13549"/>
                      <a:pt x="8149" y="13549"/>
                    </a:cubicBezTo>
                    <a:cubicBezTo>
                      <a:pt x="8149" y="13549"/>
                      <a:pt x="7245" y="11758"/>
                      <a:pt x="7092" y="11116"/>
                    </a:cubicBezTo>
                    <a:cubicBezTo>
                      <a:pt x="6940" y="10474"/>
                      <a:pt x="6679" y="9569"/>
                      <a:pt x="6227" y="8602"/>
                    </a:cubicBezTo>
                    <a:cubicBezTo>
                      <a:pt x="5775" y="7634"/>
                      <a:pt x="5316" y="6648"/>
                      <a:pt x="5316" y="6169"/>
                    </a:cubicBezTo>
                    <a:cubicBezTo>
                      <a:pt x="5316" y="5689"/>
                      <a:pt x="5322" y="3267"/>
                      <a:pt x="4870" y="3267"/>
                    </a:cubicBezTo>
                    <a:cubicBezTo>
                      <a:pt x="4418" y="3267"/>
                      <a:pt x="2992" y="4162"/>
                      <a:pt x="2992" y="4162"/>
                    </a:cubicBezTo>
                    <a:lnTo>
                      <a:pt x="2178" y="5953"/>
                    </a:lnTo>
                    <a:lnTo>
                      <a:pt x="1222" y="5436"/>
                    </a:lnTo>
                    <a:lnTo>
                      <a:pt x="0" y="0"/>
                    </a:lnTo>
                    <a:lnTo>
                      <a:pt x="316" y="11035"/>
                    </a:lnTo>
                    <a:close/>
                  </a:path>
                </a:pathLst>
              </a:custGeom>
              <a:solidFill>
                <a:srgbClr val="FFFFFF">
                  <a:lumMod val="95000"/>
                  <a:alpha val="5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sp>
          <p:nvSpPr>
            <p:cNvPr id="144" name="ïṩḷíde"/>
            <p:cNvSpPr/>
            <p:nvPr/>
          </p:nvSpPr>
          <p:spPr>
            <a:xfrm>
              <a:off x="3486142" y="2290053"/>
              <a:ext cx="2394656" cy="335585"/>
            </a:xfrm>
            <a:custGeom>
              <a:avLst/>
              <a:gdLst/>
              <a:ahLst/>
              <a:cxnLst>
                <a:cxn ang="0">
                  <a:pos x="wd2" y="hd2"/>
                </a:cxn>
                <a:cxn ang="5400000">
                  <a:pos x="wd2" y="hd2"/>
                </a:cxn>
                <a:cxn ang="10800000">
                  <a:pos x="wd2" y="hd2"/>
                </a:cxn>
                <a:cxn ang="16200000">
                  <a:pos x="wd2" y="hd2"/>
                </a:cxn>
              </a:cxnLst>
              <a:rect l="0" t="0" r="r" b="b"/>
              <a:pathLst>
                <a:path w="19701" h="16978" extrusionOk="0">
                  <a:moveTo>
                    <a:pt x="3161" y="0"/>
                  </a:moveTo>
                  <a:cubicBezTo>
                    <a:pt x="3161" y="0"/>
                    <a:pt x="-1421" y="5515"/>
                    <a:pt x="6377" y="10491"/>
                  </a:cubicBezTo>
                  <a:cubicBezTo>
                    <a:pt x="14175" y="15467"/>
                    <a:pt x="19701" y="12322"/>
                    <a:pt x="19701" y="12322"/>
                  </a:cubicBezTo>
                  <a:cubicBezTo>
                    <a:pt x="19701" y="12322"/>
                    <a:pt x="6838" y="21600"/>
                    <a:pt x="2470" y="13963"/>
                  </a:cubicBezTo>
                  <a:cubicBezTo>
                    <a:pt x="-1899" y="6326"/>
                    <a:pt x="295" y="1072"/>
                    <a:pt x="3161" y="0"/>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45" name="iṧ1ïḍé"/>
            <p:cNvSpPr/>
            <p:nvPr/>
          </p:nvSpPr>
          <p:spPr>
            <a:xfrm>
              <a:off x="5344826" y="2342312"/>
              <a:ext cx="2668865" cy="364745"/>
            </a:xfrm>
            <a:custGeom>
              <a:avLst/>
              <a:gdLst/>
              <a:ahLst/>
              <a:cxnLst>
                <a:cxn ang="0">
                  <a:pos x="wd2" y="hd2"/>
                </a:cxn>
                <a:cxn ang="5400000">
                  <a:pos x="wd2" y="hd2"/>
                </a:cxn>
                <a:cxn ang="10800000">
                  <a:pos x="wd2" y="hd2"/>
                </a:cxn>
                <a:cxn ang="16200000">
                  <a:pos x="wd2" y="hd2"/>
                </a:cxn>
              </a:cxnLst>
              <a:rect l="0" t="0" r="r" b="b"/>
              <a:pathLst>
                <a:path w="18903" h="20158" extrusionOk="0">
                  <a:moveTo>
                    <a:pt x="7" y="20157"/>
                  </a:moveTo>
                  <a:cubicBezTo>
                    <a:pt x="-396" y="20298"/>
                    <a:pt x="18426" y="9937"/>
                    <a:pt x="17517" y="4317"/>
                  </a:cubicBezTo>
                  <a:cubicBezTo>
                    <a:pt x="16607" y="-1302"/>
                    <a:pt x="16548" y="176"/>
                    <a:pt x="16548" y="176"/>
                  </a:cubicBezTo>
                  <a:cubicBezTo>
                    <a:pt x="16548" y="176"/>
                    <a:pt x="18797" y="575"/>
                    <a:pt x="18816" y="3608"/>
                  </a:cubicBezTo>
                  <a:cubicBezTo>
                    <a:pt x="18835" y="6642"/>
                    <a:pt x="21204" y="12710"/>
                    <a:pt x="7" y="20157"/>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46" name="iš1iďe"/>
            <p:cNvSpPr/>
            <p:nvPr/>
          </p:nvSpPr>
          <p:spPr>
            <a:xfrm>
              <a:off x="4590877" y="2730355"/>
              <a:ext cx="2630953" cy="155500"/>
            </a:xfrm>
            <a:custGeom>
              <a:avLst/>
              <a:gdLst/>
              <a:ahLst/>
              <a:cxnLst>
                <a:cxn ang="0">
                  <a:pos x="wd2" y="hd2"/>
                </a:cxn>
                <a:cxn ang="5400000">
                  <a:pos x="wd2" y="hd2"/>
                </a:cxn>
                <a:cxn ang="10800000">
                  <a:pos x="wd2" y="hd2"/>
                </a:cxn>
                <a:cxn ang="16200000">
                  <a:pos x="wd2" y="hd2"/>
                </a:cxn>
              </a:cxnLst>
              <a:rect l="0" t="0" r="r" b="b"/>
              <a:pathLst>
                <a:path w="21266" h="11685" extrusionOk="0">
                  <a:moveTo>
                    <a:pt x="12" y="6066"/>
                  </a:moveTo>
                  <a:cubicBezTo>
                    <a:pt x="-334" y="5624"/>
                    <a:pt x="7152" y="10914"/>
                    <a:pt x="13688" y="6066"/>
                  </a:cubicBezTo>
                  <a:cubicBezTo>
                    <a:pt x="20224" y="1217"/>
                    <a:pt x="21266" y="0"/>
                    <a:pt x="21266" y="0"/>
                  </a:cubicBezTo>
                  <a:cubicBezTo>
                    <a:pt x="21266" y="0"/>
                    <a:pt x="12181" y="21600"/>
                    <a:pt x="12" y="6066"/>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nvGrpSpPr>
            <p:cNvPr id="147" name="íṣḷiḑè"/>
            <p:cNvGrpSpPr/>
            <p:nvPr/>
          </p:nvGrpSpPr>
          <p:grpSpPr>
            <a:xfrm>
              <a:off x="7829551" y="1936751"/>
              <a:ext cx="869952" cy="521062"/>
              <a:chOff x="0" y="0"/>
              <a:chExt cx="1739901" cy="1042121"/>
            </a:xfrm>
          </p:grpSpPr>
          <p:sp>
            <p:nvSpPr>
              <p:cNvPr id="148" name="íṣḻiḑé"/>
              <p:cNvSpPr/>
              <p:nvPr/>
            </p:nvSpPr>
            <p:spPr>
              <a:xfrm>
                <a:off x="0" y="0"/>
                <a:ext cx="1739901" cy="1042121"/>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C6D9EC"/>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49" name="îSḷíḋe"/>
              <p:cNvSpPr/>
              <p:nvPr/>
            </p:nvSpPr>
            <p:spPr>
              <a:xfrm>
                <a:off x="1217" y="236760"/>
                <a:ext cx="803822" cy="775915"/>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0" name="iṥļîḍe"/>
              <p:cNvSpPr/>
              <p:nvPr/>
            </p:nvSpPr>
            <p:spPr>
              <a:xfrm>
                <a:off x="781558" y="94907"/>
                <a:ext cx="96994" cy="366551"/>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1" name="íśḻïḋê"/>
              <p:cNvSpPr/>
              <p:nvPr/>
            </p:nvSpPr>
            <p:spPr>
              <a:xfrm>
                <a:off x="765409" y="297899"/>
                <a:ext cx="52453" cy="168419"/>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2" name="ïş1íďé"/>
              <p:cNvSpPr/>
              <p:nvPr/>
            </p:nvSpPr>
            <p:spPr>
              <a:xfrm>
                <a:off x="660608" y="53878"/>
                <a:ext cx="61522" cy="235475"/>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3" name="ïṧļïdé"/>
              <p:cNvSpPr/>
              <p:nvPr/>
            </p:nvSpPr>
            <p:spPr>
              <a:xfrm>
                <a:off x="546977" y="106528"/>
                <a:ext cx="186285" cy="332188"/>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5"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4" name="íṧḷiďe"/>
              <p:cNvSpPr/>
              <p:nvPr/>
            </p:nvSpPr>
            <p:spPr>
              <a:xfrm>
                <a:off x="559860" y="271258"/>
                <a:ext cx="86130" cy="20837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5" name="iŝļïďê"/>
              <p:cNvSpPr/>
              <p:nvPr/>
            </p:nvSpPr>
            <p:spPr>
              <a:xfrm>
                <a:off x="989109" y="202415"/>
                <a:ext cx="64164" cy="183785"/>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7"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6" name="ïṩļïḓé"/>
              <p:cNvSpPr/>
              <p:nvPr/>
            </p:nvSpPr>
            <p:spPr>
              <a:xfrm>
                <a:off x="990521" y="461745"/>
                <a:ext cx="34953" cy="68286"/>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7" name="iṩľiḋé"/>
              <p:cNvSpPr/>
              <p:nvPr/>
            </p:nvSpPr>
            <p:spPr>
              <a:xfrm>
                <a:off x="1131698" y="318452"/>
                <a:ext cx="75251" cy="149230"/>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8" name="î$1iḍè"/>
              <p:cNvSpPr/>
              <p:nvPr/>
            </p:nvSpPr>
            <p:spPr>
              <a:xfrm>
                <a:off x="1448697" y="713276"/>
                <a:ext cx="146344" cy="244425"/>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9" name="îsľïdé"/>
              <p:cNvSpPr/>
              <p:nvPr/>
            </p:nvSpPr>
            <p:spPr>
              <a:xfrm>
                <a:off x="1572139" y="718328"/>
                <a:ext cx="79525" cy="2218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0" name="íśľïḑè"/>
              <p:cNvSpPr/>
              <p:nvPr/>
            </p:nvSpPr>
            <p:spPr>
              <a:xfrm>
                <a:off x="1070163" y="238757"/>
                <a:ext cx="51355" cy="205356"/>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grpSp>
      <p:sp>
        <p:nvSpPr>
          <p:cNvPr id="202" name="íS1iḋè"/>
          <p:cNvSpPr/>
          <p:nvPr userDrawn="1"/>
        </p:nvSpPr>
        <p:spPr>
          <a:xfrm>
            <a:off x="-19464" y="3123746"/>
            <a:ext cx="12230928" cy="3734254"/>
          </a:xfrm>
          <a:prstGeom prst="rect">
            <a:avLst/>
          </a:prstGeom>
          <a:gradFill>
            <a:gsLst>
              <a:gs pos="0">
                <a:schemeClr val="accent1">
                  <a:lumMod val="20000"/>
                  <a:lumOff val="80000"/>
                  <a:alpha val="50000"/>
                </a:schemeClr>
              </a:gs>
              <a:gs pos="100000">
                <a:schemeClr val="accent1">
                  <a:lumMod val="60000"/>
                  <a:lumOff val="40000"/>
                  <a:alpha val="50000"/>
                </a:schemeClr>
              </a:gs>
            </a:gsLst>
            <a:lin ang="5400000"/>
          </a:gradFill>
          <a:ln w="25400">
            <a:solidFill>
              <a:srgbClr val="000000">
                <a:alpha val="0"/>
              </a:srgbClr>
            </a:solidFill>
            <a:miter lim="400000"/>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575757"/>
              </a:solidFill>
              <a:effectLst/>
              <a:uLnTx/>
              <a:uFillTx/>
              <a:latin typeface="Trebuchet MS" panose="020B0603020202020204"/>
              <a:ea typeface="微软雅黑" panose="020B0503020204020204" charset="-122"/>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封面2-1">
    <p:spTree>
      <p:nvGrpSpPr>
        <p:cNvPr id="1" name=""/>
        <p:cNvGrpSpPr/>
        <p:nvPr/>
      </p:nvGrpSpPr>
      <p:grpSpPr>
        <a:xfrm>
          <a:off x="0" y="0"/>
          <a:ext cx="0" cy="0"/>
          <a:chOff x="0" y="0"/>
          <a:chExt cx="0" cy="0"/>
        </a:xfrm>
      </p:grpSpPr>
      <p:pic>
        <p:nvPicPr>
          <p:cNvPr id="126" name="图片 125"/>
          <p:cNvPicPr>
            <a:picLocks noChangeAspect="1"/>
          </p:cNvPicPr>
          <p:nvPr userDrawn="1"/>
        </p:nvPicPr>
        <p:blipFill>
          <a:blip r:embed="rId2" cstate="email"/>
          <a:stretch>
            <a:fillRect/>
          </a:stretch>
        </p:blipFill>
        <p:spPr>
          <a:xfrm>
            <a:off x="0" y="-1"/>
            <a:ext cx="12192000" cy="4107180"/>
          </a:xfrm>
          <a:prstGeom prst="rect">
            <a:avLst/>
          </a:prstGeom>
        </p:spPr>
      </p:pic>
      <p:sp>
        <p:nvSpPr>
          <p:cNvPr id="111" name="矩形: 单圆角 110"/>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3" name="内容占位符 123"/>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7" name="内容占位符 4"/>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18" name="直接连接符 117"/>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60" name="组合 59"/>
          <p:cNvGrpSpPr/>
          <p:nvPr userDrawn="1"/>
        </p:nvGrpSpPr>
        <p:grpSpPr>
          <a:xfrm>
            <a:off x="10477913" y="446123"/>
            <a:ext cx="1234662" cy="419641"/>
            <a:chOff x="1398368" y="5051425"/>
            <a:chExt cx="3242941" cy="1102222"/>
          </a:xfrm>
        </p:grpSpPr>
        <p:sp>
          <p:nvSpPr>
            <p:cNvPr id="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9" name="组合 118"/>
            <p:cNvGrpSpPr/>
            <p:nvPr/>
          </p:nvGrpSpPr>
          <p:grpSpPr>
            <a:xfrm>
              <a:off x="2921957" y="5168150"/>
              <a:ext cx="542765" cy="642593"/>
              <a:chOff x="3102298" y="5183391"/>
              <a:chExt cx="501880" cy="594188"/>
            </a:xfrm>
          </p:grpSpPr>
          <p:sp>
            <p:nvSpPr>
              <p:cNvPr id="161"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0" name="组合 119"/>
            <p:cNvGrpSpPr/>
            <p:nvPr/>
          </p:nvGrpSpPr>
          <p:grpSpPr>
            <a:xfrm>
              <a:off x="4196892" y="5154476"/>
              <a:ext cx="444417" cy="649987"/>
              <a:chOff x="4257853" y="5169716"/>
              <a:chExt cx="410940" cy="601025"/>
            </a:xfrm>
          </p:grpSpPr>
          <p:sp>
            <p:nvSpPr>
              <p:cNvPr id="156"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0" y="1196976"/>
            <a:ext cx="2766546" cy="4932362"/>
          </a:xfrm>
          <a:solidFill>
            <a:schemeClr val="accent1">
              <a:lumMod val="20000"/>
              <a:lumOff val="80000"/>
            </a:schemeClr>
          </a:solidFill>
        </p:spPr>
        <p:txBody>
          <a:bodyPr/>
          <a:lstStyle/>
          <a:p>
            <a:endParaRPr lang="en-US"/>
          </a:p>
        </p:txBody>
      </p:sp>
      <p:sp>
        <p:nvSpPr>
          <p:cNvPr id="9" name="图片占位符 8"/>
          <p:cNvSpPr>
            <a:spLocks noGrp="1"/>
          </p:cNvSpPr>
          <p:nvPr>
            <p:ph type="pic" sz="quarter" idx="11"/>
          </p:nvPr>
        </p:nvSpPr>
        <p:spPr>
          <a:xfrm>
            <a:off x="9425452" y="1196976"/>
            <a:ext cx="2766548" cy="4932362"/>
          </a:xfrm>
          <a:solidFill>
            <a:schemeClr val="accent1">
              <a:lumMod val="20000"/>
              <a:lumOff val="80000"/>
            </a:schemeClr>
          </a:solidFill>
        </p:spPr>
        <p:txBody>
          <a:bodyPr/>
          <a:lstStyle/>
          <a:p>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2" name="îṩļíḓè"/>
          <p:cNvSpPr/>
          <p:nvPr userDrawn="1"/>
        </p:nvSpPr>
        <p:spPr>
          <a:xfrm>
            <a:off x="0" y="5881254"/>
            <a:ext cx="12192000" cy="33250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92500" lnSpcReduction="10000"/>
          </a:bodyPr>
          <a:lstStyle/>
          <a:p>
            <a:pPr algn="ctr"/>
            <a:endParaRPr lang="zh-CN" altLang="en-US">
              <a:cs typeface="+mn-ea"/>
              <a:sym typeface="+mn-lt"/>
            </a:endParaRPr>
          </a:p>
        </p:txBody>
      </p:sp>
      <p:grpSp>
        <p:nvGrpSpPr>
          <p:cNvPr id="113" name="组合 112"/>
          <p:cNvGrpSpPr/>
          <p:nvPr userDrawn="1"/>
        </p:nvGrpSpPr>
        <p:grpSpPr>
          <a:xfrm>
            <a:off x="4233047" y="1242688"/>
            <a:ext cx="3190532" cy="4245353"/>
            <a:chOff x="4233047" y="1242688"/>
            <a:chExt cx="3190532" cy="4245353"/>
          </a:xfrm>
        </p:grpSpPr>
        <p:sp>
          <p:nvSpPr>
            <p:cNvPr id="114" name="í$ḷïďê"/>
            <p:cNvSpPr/>
            <p:nvPr/>
          </p:nvSpPr>
          <p:spPr bwMode="auto">
            <a:xfrm>
              <a:off x="6661392" y="1978798"/>
              <a:ext cx="551226" cy="548959"/>
            </a:xfrm>
            <a:custGeom>
              <a:avLst/>
              <a:gdLst>
                <a:gd name="T0" fmla="*/ 243 w 623"/>
                <a:gd name="T1" fmla="*/ 585 h 622"/>
                <a:gd name="T2" fmla="*/ 585 w 623"/>
                <a:gd name="T3" fmla="*/ 380 h 622"/>
                <a:gd name="T4" fmla="*/ 380 w 623"/>
                <a:gd name="T5" fmla="*/ 38 h 622"/>
                <a:gd name="T6" fmla="*/ 38 w 623"/>
                <a:gd name="T7" fmla="*/ 243 h 622"/>
                <a:gd name="T8" fmla="*/ 243 w 623"/>
                <a:gd name="T9" fmla="*/ 585 h 622"/>
              </a:gdLst>
              <a:ahLst/>
              <a:cxnLst>
                <a:cxn ang="0">
                  <a:pos x="T0" y="T1"/>
                </a:cxn>
                <a:cxn ang="0">
                  <a:pos x="T2" y="T3"/>
                </a:cxn>
                <a:cxn ang="0">
                  <a:pos x="T4" y="T5"/>
                </a:cxn>
                <a:cxn ang="0">
                  <a:pos x="T6" y="T7"/>
                </a:cxn>
                <a:cxn ang="0">
                  <a:pos x="T8" y="T9"/>
                </a:cxn>
              </a:cxnLst>
              <a:rect l="0" t="0" r="r" b="b"/>
              <a:pathLst>
                <a:path w="623" h="622">
                  <a:moveTo>
                    <a:pt x="243" y="585"/>
                  </a:moveTo>
                  <a:cubicBezTo>
                    <a:pt x="394" y="622"/>
                    <a:pt x="547" y="531"/>
                    <a:pt x="585" y="380"/>
                  </a:cubicBezTo>
                  <a:cubicBezTo>
                    <a:pt x="623" y="229"/>
                    <a:pt x="531" y="76"/>
                    <a:pt x="380" y="38"/>
                  </a:cubicBezTo>
                  <a:cubicBezTo>
                    <a:pt x="229" y="0"/>
                    <a:pt x="76" y="92"/>
                    <a:pt x="38" y="243"/>
                  </a:cubicBezTo>
                  <a:cubicBezTo>
                    <a:pt x="0" y="394"/>
                    <a:pt x="92" y="547"/>
                    <a:pt x="243" y="585"/>
                  </a:cubicBezTo>
                  <a:close/>
                </a:path>
              </a:pathLst>
            </a:custGeom>
            <a:solidFill>
              <a:schemeClr val="bg1">
                <a:lumMod val="85000"/>
              </a:schemeClr>
            </a:solidFill>
            <a:ln>
              <a:noFill/>
            </a:ln>
          </p:spPr>
          <p:txBody>
            <a:bodyPr vert="horz" wrap="square" lIns="91440" tIns="45720" rIns="91440" bIns="45720" numCol="1" anchor="t" anchorCtr="0" compatLnSpc="1">
              <a:normAutofit fontScale="92500" lnSpcReduction="10000"/>
            </a:bodyPr>
            <a:lstStyle/>
            <a:p>
              <a:endParaRPr lang="en-US" sz="3600">
                <a:cs typeface="+mn-ea"/>
                <a:sym typeface="+mn-lt"/>
              </a:endParaRPr>
            </a:p>
          </p:txBody>
        </p:sp>
        <p:sp>
          <p:nvSpPr>
            <p:cNvPr id="115" name="íṣľíḍê"/>
            <p:cNvSpPr/>
            <p:nvPr/>
          </p:nvSpPr>
          <p:spPr bwMode="auto">
            <a:xfrm>
              <a:off x="6610352" y="2155736"/>
              <a:ext cx="145179" cy="162193"/>
            </a:xfrm>
            <a:custGeom>
              <a:avLst/>
              <a:gdLst>
                <a:gd name="T0" fmla="*/ 115 w 128"/>
                <a:gd name="T1" fmla="*/ 143 h 143"/>
                <a:gd name="T2" fmla="*/ 128 w 128"/>
                <a:gd name="T3" fmla="*/ 0 h 143"/>
                <a:gd name="T4" fmla="*/ 6 w 128"/>
                <a:gd name="T5" fmla="*/ 27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7"/>
                  </a:lnTo>
                  <a:lnTo>
                    <a:pt x="0" y="95"/>
                  </a:lnTo>
                  <a:lnTo>
                    <a:pt x="115" y="143"/>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6" name="ï$ľíḓé"/>
            <p:cNvSpPr/>
            <p:nvPr/>
          </p:nvSpPr>
          <p:spPr bwMode="auto">
            <a:xfrm>
              <a:off x="6837194" y="2435885"/>
              <a:ext cx="163326" cy="144045"/>
            </a:xfrm>
            <a:custGeom>
              <a:avLst/>
              <a:gdLst>
                <a:gd name="T0" fmla="*/ 0 w 144"/>
                <a:gd name="T1" fmla="*/ 0 h 127"/>
                <a:gd name="T2" fmla="*/ 144 w 144"/>
                <a:gd name="T3" fmla="*/ 12 h 127"/>
                <a:gd name="T4" fmla="*/ 95 w 144"/>
                <a:gd name="T5" fmla="*/ 127 h 127"/>
                <a:gd name="T6" fmla="*/ 27 w 144"/>
                <a:gd name="T7" fmla="*/ 121 h 127"/>
                <a:gd name="T8" fmla="*/ 0 w 144"/>
                <a:gd name="T9" fmla="*/ 0 h 127"/>
              </a:gdLst>
              <a:ahLst/>
              <a:cxnLst>
                <a:cxn ang="0">
                  <a:pos x="T0" y="T1"/>
                </a:cxn>
                <a:cxn ang="0">
                  <a:pos x="T2" y="T3"/>
                </a:cxn>
                <a:cxn ang="0">
                  <a:pos x="T4" y="T5"/>
                </a:cxn>
                <a:cxn ang="0">
                  <a:pos x="T6" y="T7"/>
                </a:cxn>
                <a:cxn ang="0">
                  <a:pos x="T8" y="T9"/>
                </a:cxn>
              </a:cxnLst>
              <a:rect l="0" t="0" r="r" b="b"/>
              <a:pathLst>
                <a:path w="144" h="127">
                  <a:moveTo>
                    <a:pt x="0" y="0"/>
                  </a:moveTo>
                  <a:lnTo>
                    <a:pt x="144" y="12"/>
                  </a:lnTo>
                  <a:lnTo>
                    <a:pt x="95" y="127"/>
                  </a:lnTo>
                  <a:lnTo>
                    <a:pt x="27" y="121"/>
                  </a:lnTo>
                  <a:lnTo>
                    <a:pt x="0" y="0"/>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7" name="iŝlïḑè"/>
            <p:cNvSpPr/>
            <p:nvPr/>
          </p:nvSpPr>
          <p:spPr bwMode="auto">
            <a:xfrm>
              <a:off x="7117344" y="2188628"/>
              <a:ext cx="145179" cy="163327"/>
            </a:xfrm>
            <a:custGeom>
              <a:avLst/>
              <a:gdLst>
                <a:gd name="T0" fmla="*/ 14 w 128"/>
                <a:gd name="T1" fmla="*/ 0 h 144"/>
                <a:gd name="T2" fmla="*/ 0 w 128"/>
                <a:gd name="T3" fmla="*/ 144 h 144"/>
                <a:gd name="T4" fmla="*/ 122 w 128"/>
                <a:gd name="T5" fmla="*/ 117 h 144"/>
                <a:gd name="T6" fmla="*/ 128 w 128"/>
                <a:gd name="T7" fmla="*/ 49 h 144"/>
                <a:gd name="T8" fmla="*/ 14 w 128"/>
                <a:gd name="T9" fmla="*/ 0 h 144"/>
              </a:gdLst>
              <a:ahLst/>
              <a:cxnLst>
                <a:cxn ang="0">
                  <a:pos x="T0" y="T1"/>
                </a:cxn>
                <a:cxn ang="0">
                  <a:pos x="T2" y="T3"/>
                </a:cxn>
                <a:cxn ang="0">
                  <a:pos x="T4" y="T5"/>
                </a:cxn>
                <a:cxn ang="0">
                  <a:pos x="T6" y="T7"/>
                </a:cxn>
                <a:cxn ang="0">
                  <a:pos x="T8" y="T9"/>
                </a:cxn>
              </a:cxnLst>
              <a:rect l="0" t="0" r="r" b="b"/>
              <a:pathLst>
                <a:path w="128" h="144">
                  <a:moveTo>
                    <a:pt x="14" y="0"/>
                  </a:moveTo>
                  <a:lnTo>
                    <a:pt x="0" y="144"/>
                  </a:lnTo>
                  <a:lnTo>
                    <a:pt x="122" y="117"/>
                  </a:lnTo>
                  <a:lnTo>
                    <a:pt x="128" y="49"/>
                  </a:lnTo>
                  <a:lnTo>
                    <a:pt x="14" y="0"/>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8" name="íśliḑè"/>
            <p:cNvSpPr/>
            <p:nvPr/>
          </p:nvSpPr>
          <p:spPr bwMode="auto">
            <a:xfrm>
              <a:off x="6873488" y="1928892"/>
              <a:ext cx="163326" cy="145180"/>
            </a:xfrm>
            <a:custGeom>
              <a:avLst/>
              <a:gdLst>
                <a:gd name="T0" fmla="*/ 144 w 144"/>
                <a:gd name="T1" fmla="*/ 128 h 128"/>
                <a:gd name="T2" fmla="*/ 0 w 144"/>
                <a:gd name="T3" fmla="*/ 115 h 128"/>
                <a:gd name="T4" fmla="*/ 49 w 144"/>
                <a:gd name="T5" fmla="*/ 0 h 128"/>
                <a:gd name="T6" fmla="*/ 117 w 144"/>
                <a:gd name="T7" fmla="*/ 7 h 128"/>
                <a:gd name="T8" fmla="*/ 144 w 144"/>
                <a:gd name="T9" fmla="*/ 128 h 128"/>
              </a:gdLst>
              <a:ahLst/>
              <a:cxnLst>
                <a:cxn ang="0">
                  <a:pos x="T0" y="T1"/>
                </a:cxn>
                <a:cxn ang="0">
                  <a:pos x="T2" y="T3"/>
                </a:cxn>
                <a:cxn ang="0">
                  <a:pos x="T4" y="T5"/>
                </a:cxn>
                <a:cxn ang="0">
                  <a:pos x="T6" y="T7"/>
                </a:cxn>
                <a:cxn ang="0">
                  <a:pos x="T8" y="T9"/>
                </a:cxn>
              </a:cxnLst>
              <a:rect l="0" t="0" r="r" b="b"/>
              <a:pathLst>
                <a:path w="144" h="128">
                  <a:moveTo>
                    <a:pt x="144" y="128"/>
                  </a:moveTo>
                  <a:lnTo>
                    <a:pt x="0" y="115"/>
                  </a:lnTo>
                  <a:lnTo>
                    <a:pt x="49" y="0"/>
                  </a:lnTo>
                  <a:lnTo>
                    <a:pt x="117" y="7"/>
                  </a:lnTo>
                  <a:lnTo>
                    <a:pt x="144" y="128"/>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9" name="îṥḻiḋe"/>
            <p:cNvSpPr/>
            <p:nvPr/>
          </p:nvSpPr>
          <p:spPr bwMode="auto">
            <a:xfrm>
              <a:off x="6662526" y="2312256"/>
              <a:ext cx="181473" cy="179205"/>
            </a:xfrm>
            <a:custGeom>
              <a:avLst/>
              <a:gdLst>
                <a:gd name="T0" fmla="*/ 160 w 160"/>
                <a:gd name="T1" fmla="*/ 111 h 158"/>
                <a:gd name="T2" fmla="*/ 68 w 160"/>
                <a:gd name="T3" fmla="*/ 0 h 158"/>
                <a:gd name="T4" fmla="*/ 0 w 160"/>
                <a:gd name="T5" fmla="*/ 105 h 158"/>
                <a:gd name="T6" fmla="*/ 44 w 160"/>
                <a:gd name="T7" fmla="*/ 158 h 158"/>
                <a:gd name="T8" fmla="*/ 160 w 160"/>
                <a:gd name="T9" fmla="*/ 111 h 158"/>
              </a:gdLst>
              <a:ahLst/>
              <a:cxnLst>
                <a:cxn ang="0">
                  <a:pos x="T0" y="T1"/>
                </a:cxn>
                <a:cxn ang="0">
                  <a:pos x="T2" y="T3"/>
                </a:cxn>
                <a:cxn ang="0">
                  <a:pos x="T4" y="T5"/>
                </a:cxn>
                <a:cxn ang="0">
                  <a:pos x="T6" y="T7"/>
                </a:cxn>
                <a:cxn ang="0">
                  <a:pos x="T8" y="T9"/>
                </a:cxn>
              </a:cxnLst>
              <a:rect l="0" t="0" r="r" b="b"/>
              <a:pathLst>
                <a:path w="160" h="158">
                  <a:moveTo>
                    <a:pt x="160" y="111"/>
                  </a:moveTo>
                  <a:lnTo>
                    <a:pt x="68" y="0"/>
                  </a:lnTo>
                  <a:lnTo>
                    <a:pt x="0" y="105"/>
                  </a:lnTo>
                  <a:lnTo>
                    <a:pt x="44" y="158"/>
                  </a:lnTo>
                  <a:lnTo>
                    <a:pt x="160" y="111"/>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0" name="í$ḷîďé"/>
            <p:cNvSpPr/>
            <p:nvPr/>
          </p:nvSpPr>
          <p:spPr bwMode="auto">
            <a:xfrm>
              <a:off x="6993714" y="2347418"/>
              <a:ext cx="180339" cy="181474"/>
            </a:xfrm>
            <a:custGeom>
              <a:avLst/>
              <a:gdLst>
                <a:gd name="T0" fmla="*/ 0 w 159"/>
                <a:gd name="T1" fmla="*/ 92 h 160"/>
                <a:gd name="T2" fmla="*/ 111 w 159"/>
                <a:gd name="T3" fmla="*/ 0 h 160"/>
                <a:gd name="T4" fmla="*/ 159 w 159"/>
                <a:gd name="T5" fmla="*/ 116 h 160"/>
                <a:gd name="T6" fmla="*/ 106 w 159"/>
                <a:gd name="T7" fmla="*/ 160 h 160"/>
                <a:gd name="T8" fmla="*/ 0 w 159"/>
                <a:gd name="T9" fmla="*/ 92 h 160"/>
              </a:gdLst>
              <a:ahLst/>
              <a:cxnLst>
                <a:cxn ang="0">
                  <a:pos x="T0" y="T1"/>
                </a:cxn>
                <a:cxn ang="0">
                  <a:pos x="T2" y="T3"/>
                </a:cxn>
                <a:cxn ang="0">
                  <a:pos x="T4" y="T5"/>
                </a:cxn>
                <a:cxn ang="0">
                  <a:pos x="T6" y="T7"/>
                </a:cxn>
                <a:cxn ang="0">
                  <a:pos x="T8" y="T9"/>
                </a:cxn>
              </a:cxnLst>
              <a:rect l="0" t="0" r="r" b="b"/>
              <a:pathLst>
                <a:path w="159" h="160">
                  <a:moveTo>
                    <a:pt x="0" y="92"/>
                  </a:moveTo>
                  <a:lnTo>
                    <a:pt x="111" y="0"/>
                  </a:lnTo>
                  <a:lnTo>
                    <a:pt x="159" y="116"/>
                  </a:lnTo>
                  <a:lnTo>
                    <a:pt x="106" y="160"/>
                  </a:lnTo>
                  <a:lnTo>
                    <a:pt x="0" y="92"/>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1" name="íṥlíḋé"/>
            <p:cNvSpPr/>
            <p:nvPr/>
          </p:nvSpPr>
          <p:spPr bwMode="auto">
            <a:xfrm>
              <a:off x="7028875" y="2016228"/>
              <a:ext cx="181473" cy="179205"/>
            </a:xfrm>
            <a:custGeom>
              <a:avLst/>
              <a:gdLst>
                <a:gd name="T0" fmla="*/ 0 w 160"/>
                <a:gd name="T1" fmla="*/ 47 h 158"/>
                <a:gd name="T2" fmla="*/ 92 w 160"/>
                <a:gd name="T3" fmla="*/ 158 h 158"/>
                <a:gd name="T4" fmla="*/ 160 w 160"/>
                <a:gd name="T5" fmla="*/ 53 h 158"/>
                <a:gd name="T6" fmla="*/ 116 w 160"/>
                <a:gd name="T7" fmla="*/ 0 h 158"/>
                <a:gd name="T8" fmla="*/ 0 w 160"/>
                <a:gd name="T9" fmla="*/ 47 h 158"/>
              </a:gdLst>
              <a:ahLst/>
              <a:cxnLst>
                <a:cxn ang="0">
                  <a:pos x="T0" y="T1"/>
                </a:cxn>
                <a:cxn ang="0">
                  <a:pos x="T2" y="T3"/>
                </a:cxn>
                <a:cxn ang="0">
                  <a:pos x="T4" y="T5"/>
                </a:cxn>
                <a:cxn ang="0">
                  <a:pos x="T6" y="T7"/>
                </a:cxn>
                <a:cxn ang="0">
                  <a:pos x="T8" y="T9"/>
                </a:cxn>
              </a:cxnLst>
              <a:rect l="0" t="0" r="r" b="b"/>
              <a:pathLst>
                <a:path w="160" h="158">
                  <a:moveTo>
                    <a:pt x="0" y="47"/>
                  </a:moveTo>
                  <a:lnTo>
                    <a:pt x="92" y="158"/>
                  </a:lnTo>
                  <a:lnTo>
                    <a:pt x="160" y="53"/>
                  </a:lnTo>
                  <a:lnTo>
                    <a:pt x="116" y="0"/>
                  </a:lnTo>
                  <a:lnTo>
                    <a:pt x="0" y="47"/>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2" name="iśḷïḋe"/>
            <p:cNvSpPr/>
            <p:nvPr/>
          </p:nvSpPr>
          <p:spPr bwMode="auto">
            <a:xfrm>
              <a:off x="6699955" y="1979932"/>
              <a:ext cx="179205" cy="180340"/>
            </a:xfrm>
            <a:custGeom>
              <a:avLst/>
              <a:gdLst>
                <a:gd name="T0" fmla="*/ 158 w 158"/>
                <a:gd name="T1" fmla="*/ 67 h 159"/>
                <a:gd name="T2" fmla="*/ 48 w 158"/>
                <a:gd name="T3" fmla="*/ 159 h 159"/>
                <a:gd name="T4" fmla="*/ 0 w 158"/>
                <a:gd name="T5" fmla="*/ 44 h 159"/>
                <a:gd name="T6" fmla="*/ 53 w 158"/>
                <a:gd name="T7" fmla="*/ 0 h 159"/>
                <a:gd name="T8" fmla="*/ 158 w 158"/>
                <a:gd name="T9" fmla="*/ 67 h 159"/>
              </a:gdLst>
              <a:ahLst/>
              <a:cxnLst>
                <a:cxn ang="0">
                  <a:pos x="T0" y="T1"/>
                </a:cxn>
                <a:cxn ang="0">
                  <a:pos x="T2" y="T3"/>
                </a:cxn>
                <a:cxn ang="0">
                  <a:pos x="T4" y="T5"/>
                </a:cxn>
                <a:cxn ang="0">
                  <a:pos x="T6" y="T7"/>
                </a:cxn>
                <a:cxn ang="0">
                  <a:pos x="T8" y="T9"/>
                </a:cxn>
              </a:cxnLst>
              <a:rect l="0" t="0" r="r" b="b"/>
              <a:pathLst>
                <a:path w="158" h="159">
                  <a:moveTo>
                    <a:pt x="158" y="67"/>
                  </a:moveTo>
                  <a:lnTo>
                    <a:pt x="48" y="159"/>
                  </a:lnTo>
                  <a:lnTo>
                    <a:pt x="0" y="44"/>
                  </a:lnTo>
                  <a:lnTo>
                    <a:pt x="53" y="0"/>
                  </a:lnTo>
                  <a:lnTo>
                    <a:pt x="158" y="67"/>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3" name="iṡļíḑé"/>
            <p:cNvSpPr/>
            <p:nvPr/>
          </p:nvSpPr>
          <p:spPr bwMode="auto">
            <a:xfrm>
              <a:off x="5595233" y="2511878"/>
              <a:ext cx="1785247" cy="1781847"/>
            </a:xfrm>
            <a:custGeom>
              <a:avLst/>
              <a:gdLst>
                <a:gd name="T0" fmla="*/ 215 w 2018"/>
                <a:gd name="T1" fmla="*/ 1398 h 2018"/>
                <a:gd name="T2" fmla="*/ 1398 w 2018"/>
                <a:gd name="T3" fmla="*/ 1803 h 2018"/>
                <a:gd name="T4" fmla="*/ 1803 w 2018"/>
                <a:gd name="T5" fmla="*/ 620 h 2018"/>
                <a:gd name="T6" fmla="*/ 620 w 2018"/>
                <a:gd name="T7" fmla="*/ 215 h 2018"/>
                <a:gd name="T8" fmla="*/ 215 w 2018"/>
                <a:gd name="T9" fmla="*/ 1398 h 2018"/>
              </a:gdLst>
              <a:ahLst/>
              <a:cxnLst>
                <a:cxn ang="0">
                  <a:pos x="T0" y="T1"/>
                </a:cxn>
                <a:cxn ang="0">
                  <a:pos x="T2" y="T3"/>
                </a:cxn>
                <a:cxn ang="0">
                  <a:pos x="T4" y="T5"/>
                </a:cxn>
                <a:cxn ang="0">
                  <a:pos x="T6" y="T7"/>
                </a:cxn>
                <a:cxn ang="0">
                  <a:pos x="T8" y="T9"/>
                </a:cxn>
              </a:cxnLst>
              <a:rect l="0" t="0" r="r" b="b"/>
              <a:pathLst>
                <a:path w="2018" h="2018">
                  <a:moveTo>
                    <a:pt x="215" y="1398"/>
                  </a:moveTo>
                  <a:cubicBezTo>
                    <a:pt x="430" y="1837"/>
                    <a:pt x="960" y="2018"/>
                    <a:pt x="1398" y="1803"/>
                  </a:cubicBezTo>
                  <a:cubicBezTo>
                    <a:pt x="1837" y="1588"/>
                    <a:pt x="2018" y="1058"/>
                    <a:pt x="1803" y="620"/>
                  </a:cubicBezTo>
                  <a:cubicBezTo>
                    <a:pt x="1588" y="181"/>
                    <a:pt x="1058" y="0"/>
                    <a:pt x="620" y="215"/>
                  </a:cubicBezTo>
                  <a:cubicBezTo>
                    <a:pt x="181" y="430"/>
                    <a:pt x="0" y="960"/>
                    <a:pt x="215" y="1398"/>
                  </a:cubicBezTo>
                  <a:close/>
                </a:path>
              </a:pathLst>
            </a:custGeom>
            <a:solidFill>
              <a:schemeClr val="bg1">
                <a:lumMod val="8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24" name="îṡ1iďê"/>
            <p:cNvSpPr/>
            <p:nvPr/>
          </p:nvSpPr>
          <p:spPr bwMode="auto">
            <a:xfrm>
              <a:off x="6022830" y="2536830"/>
              <a:ext cx="276747" cy="308505"/>
            </a:xfrm>
            <a:custGeom>
              <a:avLst/>
              <a:gdLst>
                <a:gd name="T0" fmla="*/ 47 w 244"/>
                <a:gd name="T1" fmla="*/ 272 h 272"/>
                <a:gd name="T2" fmla="*/ 244 w 244"/>
                <a:gd name="T3" fmla="*/ 175 h 272"/>
                <a:gd name="T4" fmla="*/ 94 w 244"/>
                <a:gd name="T5" fmla="*/ 0 h 272"/>
                <a:gd name="T6" fmla="*/ 0 w 244"/>
                <a:gd name="T7" fmla="*/ 46 h 272"/>
                <a:gd name="T8" fmla="*/ 47 w 244"/>
                <a:gd name="T9" fmla="*/ 272 h 272"/>
              </a:gdLst>
              <a:ahLst/>
              <a:cxnLst>
                <a:cxn ang="0">
                  <a:pos x="T0" y="T1"/>
                </a:cxn>
                <a:cxn ang="0">
                  <a:pos x="T2" y="T3"/>
                </a:cxn>
                <a:cxn ang="0">
                  <a:pos x="T4" y="T5"/>
                </a:cxn>
                <a:cxn ang="0">
                  <a:pos x="T6" y="T7"/>
                </a:cxn>
                <a:cxn ang="0">
                  <a:pos x="T8" y="T9"/>
                </a:cxn>
              </a:cxnLst>
              <a:rect l="0" t="0" r="r" b="b"/>
              <a:pathLst>
                <a:path w="244" h="272">
                  <a:moveTo>
                    <a:pt x="47" y="272"/>
                  </a:moveTo>
                  <a:lnTo>
                    <a:pt x="244" y="175"/>
                  </a:lnTo>
                  <a:lnTo>
                    <a:pt x="94" y="0"/>
                  </a:lnTo>
                  <a:lnTo>
                    <a:pt x="0" y="46"/>
                  </a:lnTo>
                  <a:lnTo>
                    <a:pt x="47" y="272"/>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25" name="ïṧḻíďé"/>
            <p:cNvSpPr/>
            <p:nvPr/>
          </p:nvSpPr>
          <p:spPr bwMode="auto">
            <a:xfrm>
              <a:off x="5621320" y="3590514"/>
              <a:ext cx="308506" cy="276748"/>
            </a:xfrm>
            <a:custGeom>
              <a:avLst/>
              <a:gdLst>
                <a:gd name="T0" fmla="*/ 175 w 272"/>
                <a:gd name="T1" fmla="*/ 0 h 244"/>
                <a:gd name="T2" fmla="*/ 272 w 272"/>
                <a:gd name="T3" fmla="*/ 197 h 244"/>
                <a:gd name="T4" fmla="*/ 46 w 272"/>
                <a:gd name="T5" fmla="*/ 244 h 244"/>
                <a:gd name="T6" fmla="*/ 0 w 272"/>
                <a:gd name="T7" fmla="*/ 150 h 244"/>
                <a:gd name="T8" fmla="*/ 175 w 272"/>
                <a:gd name="T9" fmla="*/ 0 h 244"/>
              </a:gdLst>
              <a:ahLst/>
              <a:cxnLst>
                <a:cxn ang="0">
                  <a:pos x="T0" y="T1"/>
                </a:cxn>
                <a:cxn ang="0">
                  <a:pos x="T2" y="T3"/>
                </a:cxn>
                <a:cxn ang="0">
                  <a:pos x="T4" y="T5"/>
                </a:cxn>
                <a:cxn ang="0">
                  <a:pos x="T6" y="T7"/>
                </a:cxn>
                <a:cxn ang="0">
                  <a:pos x="T8" y="T9"/>
                </a:cxn>
              </a:cxnLst>
              <a:rect l="0" t="0" r="r" b="b"/>
              <a:pathLst>
                <a:path w="272" h="244">
                  <a:moveTo>
                    <a:pt x="175" y="0"/>
                  </a:moveTo>
                  <a:lnTo>
                    <a:pt x="272" y="197"/>
                  </a:lnTo>
                  <a:lnTo>
                    <a:pt x="46" y="244"/>
                  </a:lnTo>
                  <a:lnTo>
                    <a:pt x="0" y="150"/>
                  </a:lnTo>
                  <a:lnTo>
                    <a:pt x="175" y="0"/>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26" name="ïṩḷîḍê"/>
            <p:cNvSpPr/>
            <p:nvPr/>
          </p:nvSpPr>
          <p:spPr bwMode="auto">
            <a:xfrm>
              <a:off x="6676136" y="3960267"/>
              <a:ext cx="276747" cy="308505"/>
            </a:xfrm>
            <a:custGeom>
              <a:avLst/>
              <a:gdLst>
                <a:gd name="T0" fmla="*/ 198 w 244"/>
                <a:gd name="T1" fmla="*/ 0 h 272"/>
                <a:gd name="T2" fmla="*/ 0 w 244"/>
                <a:gd name="T3" fmla="*/ 96 h 272"/>
                <a:gd name="T4" fmla="*/ 151 w 244"/>
                <a:gd name="T5" fmla="*/ 272 h 272"/>
                <a:gd name="T6" fmla="*/ 244 w 244"/>
                <a:gd name="T7" fmla="*/ 226 h 272"/>
                <a:gd name="T8" fmla="*/ 198 w 244"/>
                <a:gd name="T9" fmla="*/ 0 h 272"/>
              </a:gdLst>
              <a:ahLst/>
              <a:cxnLst>
                <a:cxn ang="0">
                  <a:pos x="T0" y="T1"/>
                </a:cxn>
                <a:cxn ang="0">
                  <a:pos x="T2" y="T3"/>
                </a:cxn>
                <a:cxn ang="0">
                  <a:pos x="T4" y="T5"/>
                </a:cxn>
                <a:cxn ang="0">
                  <a:pos x="T6" y="T7"/>
                </a:cxn>
                <a:cxn ang="0">
                  <a:pos x="T8" y="T9"/>
                </a:cxn>
              </a:cxnLst>
              <a:rect l="0" t="0" r="r" b="b"/>
              <a:pathLst>
                <a:path w="244" h="272">
                  <a:moveTo>
                    <a:pt x="198" y="0"/>
                  </a:moveTo>
                  <a:lnTo>
                    <a:pt x="0" y="96"/>
                  </a:lnTo>
                  <a:lnTo>
                    <a:pt x="151" y="272"/>
                  </a:lnTo>
                  <a:lnTo>
                    <a:pt x="244" y="226"/>
                  </a:lnTo>
                  <a:lnTo>
                    <a:pt x="198" y="0"/>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27" name="išḻîďè"/>
            <p:cNvSpPr/>
            <p:nvPr/>
          </p:nvSpPr>
          <p:spPr bwMode="auto">
            <a:xfrm>
              <a:off x="7045888" y="2938341"/>
              <a:ext cx="309639" cy="275614"/>
            </a:xfrm>
            <a:custGeom>
              <a:avLst/>
              <a:gdLst>
                <a:gd name="T0" fmla="*/ 97 w 273"/>
                <a:gd name="T1" fmla="*/ 243 h 243"/>
                <a:gd name="T2" fmla="*/ 0 w 273"/>
                <a:gd name="T3" fmla="*/ 46 h 243"/>
                <a:gd name="T4" fmla="*/ 226 w 273"/>
                <a:gd name="T5" fmla="*/ 0 h 243"/>
                <a:gd name="T6" fmla="*/ 273 w 273"/>
                <a:gd name="T7" fmla="*/ 93 h 243"/>
                <a:gd name="T8" fmla="*/ 97 w 273"/>
                <a:gd name="T9" fmla="*/ 243 h 243"/>
              </a:gdLst>
              <a:ahLst/>
              <a:cxnLst>
                <a:cxn ang="0">
                  <a:pos x="T0" y="T1"/>
                </a:cxn>
                <a:cxn ang="0">
                  <a:pos x="T2" y="T3"/>
                </a:cxn>
                <a:cxn ang="0">
                  <a:pos x="T4" y="T5"/>
                </a:cxn>
                <a:cxn ang="0">
                  <a:pos x="T6" y="T7"/>
                </a:cxn>
                <a:cxn ang="0">
                  <a:pos x="T8" y="T9"/>
                </a:cxn>
              </a:cxnLst>
              <a:rect l="0" t="0" r="r" b="b"/>
              <a:pathLst>
                <a:path w="273" h="243">
                  <a:moveTo>
                    <a:pt x="97" y="243"/>
                  </a:moveTo>
                  <a:lnTo>
                    <a:pt x="0" y="46"/>
                  </a:lnTo>
                  <a:lnTo>
                    <a:pt x="226" y="0"/>
                  </a:lnTo>
                  <a:lnTo>
                    <a:pt x="273" y="93"/>
                  </a:lnTo>
                  <a:lnTo>
                    <a:pt x="97" y="243"/>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28" name="îŝlïdê"/>
            <p:cNvSpPr/>
            <p:nvPr/>
          </p:nvSpPr>
          <p:spPr bwMode="auto">
            <a:xfrm>
              <a:off x="5585025" y="3043822"/>
              <a:ext cx="296029" cy="255198"/>
            </a:xfrm>
            <a:custGeom>
              <a:avLst/>
              <a:gdLst>
                <a:gd name="T0" fmla="*/ 190 w 261"/>
                <a:gd name="T1" fmla="*/ 225 h 225"/>
                <a:gd name="T2" fmla="*/ 261 w 261"/>
                <a:gd name="T3" fmla="*/ 17 h 225"/>
                <a:gd name="T4" fmla="*/ 34 w 261"/>
                <a:gd name="T5" fmla="*/ 0 h 225"/>
                <a:gd name="T6" fmla="*/ 0 w 261"/>
                <a:gd name="T7" fmla="*/ 100 h 225"/>
                <a:gd name="T8" fmla="*/ 190 w 261"/>
                <a:gd name="T9" fmla="*/ 225 h 225"/>
              </a:gdLst>
              <a:ahLst/>
              <a:cxnLst>
                <a:cxn ang="0">
                  <a:pos x="T0" y="T1"/>
                </a:cxn>
                <a:cxn ang="0">
                  <a:pos x="T2" y="T3"/>
                </a:cxn>
                <a:cxn ang="0">
                  <a:pos x="T4" y="T5"/>
                </a:cxn>
                <a:cxn ang="0">
                  <a:pos x="T6" y="T7"/>
                </a:cxn>
                <a:cxn ang="0">
                  <a:pos x="T8" y="T9"/>
                </a:cxn>
              </a:cxnLst>
              <a:rect l="0" t="0" r="r" b="b"/>
              <a:pathLst>
                <a:path w="261" h="225">
                  <a:moveTo>
                    <a:pt x="190" y="225"/>
                  </a:moveTo>
                  <a:lnTo>
                    <a:pt x="261" y="17"/>
                  </a:lnTo>
                  <a:lnTo>
                    <a:pt x="34" y="0"/>
                  </a:lnTo>
                  <a:lnTo>
                    <a:pt x="0" y="100"/>
                  </a:lnTo>
                  <a:lnTo>
                    <a:pt x="190" y="225"/>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29" name="íSḷidé"/>
            <p:cNvSpPr/>
            <p:nvPr/>
          </p:nvSpPr>
          <p:spPr bwMode="auto">
            <a:xfrm>
              <a:off x="6129446" y="4009037"/>
              <a:ext cx="255197" cy="296030"/>
            </a:xfrm>
            <a:custGeom>
              <a:avLst/>
              <a:gdLst>
                <a:gd name="T0" fmla="*/ 17 w 225"/>
                <a:gd name="T1" fmla="*/ 0 h 261"/>
                <a:gd name="T2" fmla="*/ 225 w 225"/>
                <a:gd name="T3" fmla="*/ 70 h 261"/>
                <a:gd name="T4" fmla="*/ 99 w 225"/>
                <a:gd name="T5" fmla="*/ 261 h 261"/>
                <a:gd name="T6" fmla="*/ 0 w 225"/>
                <a:gd name="T7" fmla="*/ 226 h 261"/>
                <a:gd name="T8" fmla="*/ 17 w 225"/>
                <a:gd name="T9" fmla="*/ 0 h 261"/>
              </a:gdLst>
              <a:ahLst/>
              <a:cxnLst>
                <a:cxn ang="0">
                  <a:pos x="T0" y="T1"/>
                </a:cxn>
                <a:cxn ang="0">
                  <a:pos x="T2" y="T3"/>
                </a:cxn>
                <a:cxn ang="0">
                  <a:pos x="T4" y="T5"/>
                </a:cxn>
                <a:cxn ang="0">
                  <a:pos x="T6" y="T7"/>
                </a:cxn>
                <a:cxn ang="0">
                  <a:pos x="T8" y="T9"/>
                </a:cxn>
              </a:cxnLst>
              <a:rect l="0" t="0" r="r" b="b"/>
              <a:pathLst>
                <a:path w="225" h="261">
                  <a:moveTo>
                    <a:pt x="17" y="0"/>
                  </a:moveTo>
                  <a:lnTo>
                    <a:pt x="225" y="70"/>
                  </a:lnTo>
                  <a:lnTo>
                    <a:pt x="99" y="261"/>
                  </a:lnTo>
                  <a:lnTo>
                    <a:pt x="0" y="226"/>
                  </a:lnTo>
                  <a:lnTo>
                    <a:pt x="17" y="0"/>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30" name="îṩḷíḑé"/>
            <p:cNvSpPr/>
            <p:nvPr/>
          </p:nvSpPr>
          <p:spPr bwMode="auto">
            <a:xfrm>
              <a:off x="7094659" y="3505448"/>
              <a:ext cx="296029" cy="255198"/>
            </a:xfrm>
            <a:custGeom>
              <a:avLst/>
              <a:gdLst>
                <a:gd name="T0" fmla="*/ 71 w 261"/>
                <a:gd name="T1" fmla="*/ 0 h 225"/>
                <a:gd name="T2" fmla="*/ 0 w 261"/>
                <a:gd name="T3" fmla="*/ 208 h 225"/>
                <a:gd name="T4" fmla="*/ 228 w 261"/>
                <a:gd name="T5" fmla="*/ 225 h 225"/>
                <a:gd name="T6" fmla="*/ 261 w 261"/>
                <a:gd name="T7" fmla="*/ 126 h 225"/>
                <a:gd name="T8" fmla="*/ 71 w 261"/>
                <a:gd name="T9" fmla="*/ 0 h 225"/>
              </a:gdLst>
              <a:ahLst/>
              <a:cxnLst>
                <a:cxn ang="0">
                  <a:pos x="T0" y="T1"/>
                </a:cxn>
                <a:cxn ang="0">
                  <a:pos x="T2" y="T3"/>
                </a:cxn>
                <a:cxn ang="0">
                  <a:pos x="T4" y="T5"/>
                </a:cxn>
                <a:cxn ang="0">
                  <a:pos x="T6" y="T7"/>
                </a:cxn>
                <a:cxn ang="0">
                  <a:pos x="T8" y="T9"/>
                </a:cxn>
              </a:cxnLst>
              <a:rect l="0" t="0" r="r" b="b"/>
              <a:pathLst>
                <a:path w="261" h="225">
                  <a:moveTo>
                    <a:pt x="71" y="0"/>
                  </a:moveTo>
                  <a:lnTo>
                    <a:pt x="0" y="208"/>
                  </a:lnTo>
                  <a:lnTo>
                    <a:pt x="228" y="225"/>
                  </a:lnTo>
                  <a:lnTo>
                    <a:pt x="261" y="126"/>
                  </a:lnTo>
                  <a:lnTo>
                    <a:pt x="71" y="0"/>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1" name="ïṥlidê"/>
            <p:cNvSpPr/>
            <p:nvPr/>
          </p:nvSpPr>
          <p:spPr bwMode="auto">
            <a:xfrm>
              <a:off x="6591070" y="2500535"/>
              <a:ext cx="256331" cy="296030"/>
            </a:xfrm>
            <a:custGeom>
              <a:avLst/>
              <a:gdLst>
                <a:gd name="T0" fmla="*/ 209 w 226"/>
                <a:gd name="T1" fmla="*/ 261 h 261"/>
                <a:gd name="T2" fmla="*/ 0 w 226"/>
                <a:gd name="T3" fmla="*/ 190 h 261"/>
                <a:gd name="T4" fmla="*/ 126 w 226"/>
                <a:gd name="T5" fmla="*/ 0 h 261"/>
                <a:gd name="T6" fmla="*/ 226 w 226"/>
                <a:gd name="T7" fmla="*/ 34 h 261"/>
                <a:gd name="T8" fmla="*/ 209 w 226"/>
                <a:gd name="T9" fmla="*/ 261 h 261"/>
              </a:gdLst>
              <a:ahLst/>
              <a:cxnLst>
                <a:cxn ang="0">
                  <a:pos x="T0" y="T1"/>
                </a:cxn>
                <a:cxn ang="0">
                  <a:pos x="T2" y="T3"/>
                </a:cxn>
                <a:cxn ang="0">
                  <a:pos x="T4" y="T5"/>
                </a:cxn>
                <a:cxn ang="0">
                  <a:pos x="T6" y="T7"/>
                </a:cxn>
                <a:cxn ang="0">
                  <a:pos x="T8" y="T9"/>
                </a:cxn>
              </a:cxnLst>
              <a:rect l="0" t="0" r="r" b="b"/>
              <a:pathLst>
                <a:path w="226" h="261">
                  <a:moveTo>
                    <a:pt x="209" y="261"/>
                  </a:moveTo>
                  <a:lnTo>
                    <a:pt x="0" y="190"/>
                  </a:lnTo>
                  <a:lnTo>
                    <a:pt x="126" y="0"/>
                  </a:lnTo>
                  <a:lnTo>
                    <a:pt x="226" y="34"/>
                  </a:lnTo>
                  <a:lnTo>
                    <a:pt x="209" y="261"/>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32" name="íṥḻîḋé"/>
            <p:cNvSpPr/>
            <p:nvPr/>
          </p:nvSpPr>
          <p:spPr bwMode="auto">
            <a:xfrm>
              <a:off x="5743815" y="2745525"/>
              <a:ext cx="309639" cy="302836"/>
            </a:xfrm>
            <a:custGeom>
              <a:avLst/>
              <a:gdLst>
                <a:gd name="T0" fmla="*/ 129 w 273"/>
                <a:gd name="T1" fmla="*/ 267 h 267"/>
                <a:gd name="T2" fmla="*/ 273 w 273"/>
                <a:gd name="T3" fmla="*/ 101 h 267"/>
                <a:gd name="T4" fmla="*/ 69 w 273"/>
                <a:gd name="T5" fmla="*/ 0 h 267"/>
                <a:gd name="T6" fmla="*/ 0 w 273"/>
                <a:gd name="T7" fmla="*/ 79 h 267"/>
                <a:gd name="T8" fmla="*/ 129 w 273"/>
                <a:gd name="T9" fmla="*/ 267 h 267"/>
              </a:gdLst>
              <a:ahLst/>
              <a:cxnLst>
                <a:cxn ang="0">
                  <a:pos x="T0" y="T1"/>
                </a:cxn>
                <a:cxn ang="0">
                  <a:pos x="T2" y="T3"/>
                </a:cxn>
                <a:cxn ang="0">
                  <a:pos x="T4" y="T5"/>
                </a:cxn>
                <a:cxn ang="0">
                  <a:pos x="T6" y="T7"/>
                </a:cxn>
                <a:cxn ang="0">
                  <a:pos x="T8" y="T9"/>
                </a:cxn>
              </a:cxnLst>
              <a:rect l="0" t="0" r="r" b="b"/>
              <a:pathLst>
                <a:path w="273" h="267">
                  <a:moveTo>
                    <a:pt x="129" y="267"/>
                  </a:moveTo>
                  <a:lnTo>
                    <a:pt x="273" y="101"/>
                  </a:lnTo>
                  <a:lnTo>
                    <a:pt x="69" y="0"/>
                  </a:lnTo>
                  <a:lnTo>
                    <a:pt x="0" y="79"/>
                  </a:lnTo>
                  <a:lnTo>
                    <a:pt x="129" y="267"/>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3" name="îšľïḍe"/>
            <p:cNvSpPr/>
            <p:nvPr/>
          </p:nvSpPr>
          <p:spPr bwMode="auto">
            <a:xfrm>
              <a:off x="5830015" y="3836637"/>
              <a:ext cx="302834" cy="308505"/>
            </a:xfrm>
            <a:custGeom>
              <a:avLst/>
              <a:gdLst>
                <a:gd name="T0" fmla="*/ 101 w 267"/>
                <a:gd name="T1" fmla="*/ 0 h 272"/>
                <a:gd name="T2" fmla="*/ 267 w 267"/>
                <a:gd name="T3" fmla="*/ 144 h 272"/>
                <a:gd name="T4" fmla="*/ 79 w 267"/>
                <a:gd name="T5" fmla="*/ 272 h 272"/>
                <a:gd name="T6" fmla="*/ 0 w 267"/>
                <a:gd name="T7" fmla="*/ 204 h 272"/>
                <a:gd name="T8" fmla="*/ 101 w 267"/>
                <a:gd name="T9" fmla="*/ 0 h 272"/>
              </a:gdLst>
              <a:ahLst/>
              <a:cxnLst>
                <a:cxn ang="0">
                  <a:pos x="T0" y="T1"/>
                </a:cxn>
                <a:cxn ang="0">
                  <a:pos x="T2" y="T3"/>
                </a:cxn>
                <a:cxn ang="0">
                  <a:pos x="T4" y="T5"/>
                </a:cxn>
                <a:cxn ang="0">
                  <a:pos x="T6" y="T7"/>
                </a:cxn>
                <a:cxn ang="0">
                  <a:pos x="T8" y="T9"/>
                </a:cxn>
              </a:cxnLst>
              <a:rect l="0" t="0" r="r" b="b"/>
              <a:pathLst>
                <a:path w="267" h="272">
                  <a:moveTo>
                    <a:pt x="101" y="0"/>
                  </a:moveTo>
                  <a:lnTo>
                    <a:pt x="267" y="144"/>
                  </a:lnTo>
                  <a:lnTo>
                    <a:pt x="79" y="272"/>
                  </a:lnTo>
                  <a:lnTo>
                    <a:pt x="0" y="204"/>
                  </a:lnTo>
                  <a:lnTo>
                    <a:pt x="101" y="0"/>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4" name="îsḷïdê"/>
            <p:cNvSpPr/>
            <p:nvPr/>
          </p:nvSpPr>
          <p:spPr bwMode="auto">
            <a:xfrm>
              <a:off x="6922260" y="3757242"/>
              <a:ext cx="309639" cy="302836"/>
            </a:xfrm>
            <a:custGeom>
              <a:avLst/>
              <a:gdLst>
                <a:gd name="T0" fmla="*/ 144 w 273"/>
                <a:gd name="T1" fmla="*/ 0 h 267"/>
                <a:gd name="T2" fmla="*/ 0 w 273"/>
                <a:gd name="T3" fmla="*/ 166 h 267"/>
                <a:gd name="T4" fmla="*/ 204 w 273"/>
                <a:gd name="T5" fmla="*/ 267 h 267"/>
                <a:gd name="T6" fmla="*/ 273 w 273"/>
                <a:gd name="T7" fmla="*/ 187 h 267"/>
                <a:gd name="T8" fmla="*/ 144 w 273"/>
                <a:gd name="T9" fmla="*/ 0 h 267"/>
              </a:gdLst>
              <a:ahLst/>
              <a:cxnLst>
                <a:cxn ang="0">
                  <a:pos x="T0" y="T1"/>
                </a:cxn>
                <a:cxn ang="0">
                  <a:pos x="T2" y="T3"/>
                </a:cxn>
                <a:cxn ang="0">
                  <a:pos x="T4" y="T5"/>
                </a:cxn>
                <a:cxn ang="0">
                  <a:pos x="T6" y="T7"/>
                </a:cxn>
                <a:cxn ang="0">
                  <a:pos x="T8" y="T9"/>
                </a:cxn>
              </a:cxnLst>
              <a:rect l="0" t="0" r="r" b="b"/>
              <a:pathLst>
                <a:path w="273" h="267">
                  <a:moveTo>
                    <a:pt x="144" y="0"/>
                  </a:moveTo>
                  <a:lnTo>
                    <a:pt x="0" y="166"/>
                  </a:lnTo>
                  <a:lnTo>
                    <a:pt x="204" y="267"/>
                  </a:lnTo>
                  <a:lnTo>
                    <a:pt x="273" y="187"/>
                  </a:lnTo>
                  <a:lnTo>
                    <a:pt x="144" y="0"/>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5" name="ïŝlíďe"/>
            <p:cNvSpPr/>
            <p:nvPr/>
          </p:nvSpPr>
          <p:spPr bwMode="auto">
            <a:xfrm>
              <a:off x="6842865" y="2659326"/>
              <a:ext cx="302834" cy="309640"/>
            </a:xfrm>
            <a:custGeom>
              <a:avLst/>
              <a:gdLst>
                <a:gd name="T0" fmla="*/ 166 w 267"/>
                <a:gd name="T1" fmla="*/ 273 h 273"/>
                <a:gd name="T2" fmla="*/ 0 w 267"/>
                <a:gd name="T3" fmla="*/ 129 h 273"/>
                <a:gd name="T4" fmla="*/ 188 w 267"/>
                <a:gd name="T5" fmla="*/ 0 h 273"/>
                <a:gd name="T6" fmla="*/ 267 w 267"/>
                <a:gd name="T7" fmla="*/ 69 h 273"/>
                <a:gd name="T8" fmla="*/ 166 w 267"/>
                <a:gd name="T9" fmla="*/ 273 h 273"/>
              </a:gdLst>
              <a:ahLst/>
              <a:cxnLst>
                <a:cxn ang="0">
                  <a:pos x="T0" y="T1"/>
                </a:cxn>
                <a:cxn ang="0">
                  <a:pos x="T2" y="T3"/>
                </a:cxn>
                <a:cxn ang="0">
                  <a:pos x="T4" y="T5"/>
                </a:cxn>
                <a:cxn ang="0">
                  <a:pos x="T6" y="T7"/>
                </a:cxn>
                <a:cxn ang="0">
                  <a:pos x="T8" y="T9"/>
                </a:cxn>
              </a:cxnLst>
              <a:rect l="0" t="0" r="r" b="b"/>
              <a:pathLst>
                <a:path w="267" h="273">
                  <a:moveTo>
                    <a:pt x="166" y="273"/>
                  </a:moveTo>
                  <a:lnTo>
                    <a:pt x="0" y="129"/>
                  </a:lnTo>
                  <a:lnTo>
                    <a:pt x="188" y="0"/>
                  </a:lnTo>
                  <a:lnTo>
                    <a:pt x="267" y="69"/>
                  </a:lnTo>
                  <a:lnTo>
                    <a:pt x="166" y="273"/>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6" name="íŝlíďè"/>
            <p:cNvSpPr/>
            <p:nvPr/>
          </p:nvSpPr>
          <p:spPr bwMode="auto">
            <a:xfrm>
              <a:off x="5552133" y="3326241"/>
              <a:ext cx="262001" cy="247258"/>
            </a:xfrm>
            <a:custGeom>
              <a:avLst/>
              <a:gdLst>
                <a:gd name="T0" fmla="*/ 231 w 231"/>
                <a:gd name="T1" fmla="*/ 218 h 218"/>
                <a:gd name="T2" fmla="*/ 216 w 231"/>
                <a:gd name="T3" fmla="*/ 0 h 218"/>
                <a:gd name="T4" fmla="*/ 0 w 231"/>
                <a:gd name="T5" fmla="*/ 72 h 218"/>
                <a:gd name="T6" fmla="*/ 7 w 231"/>
                <a:gd name="T7" fmla="*/ 176 h 218"/>
                <a:gd name="T8" fmla="*/ 231 w 231"/>
                <a:gd name="T9" fmla="*/ 218 h 218"/>
              </a:gdLst>
              <a:ahLst/>
              <a:cxnLst>
                <a:cxn ang="0">
                  <a:pos x="T0" y="T1"/>
                </a:cxn>
                <a:cxn ang="0">
                  <a:pos x="T2" y="T3"/>
                </a:cxn>
                <a:cxn ang="0">
                  <a:pos x="T4" y="T5"/>
                </a:cxn>
                <a:cxn ang="0">
                  <a:pos x="T6" y="T7"/>
                </a:cxn>
                <a:cxn ang="0">
                  <a:pos x="T8" y="T9"/>
                </a:cxn>
              </a:cxnLst>
              <a:rect l="0" t="0" r="r" b="b"/>
              <a:pathLst>
                <a:path w="231" h="218">
                  <a:moveTo>
                    <a:pt x="231" y="218"/>
                  </a:moveTo>
                  <a:lnTo>
                    <a:pt x="216" y="0"/>
                  </a:lnTo>
                  <a:lnTo>
                    <a:pt x="0" y="72"/>
                  </a:lnTo>
                  <a:lnTo>
                    <a:pt x="7" y="176"/>
                  </a:lnTo>
                  <a:lnTo>
                    <a:pt x="231" y="218"/>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7" name="ïśļíḍé"/>
            <p:cNvSpPr/>
            <p:nvPr/>
          </p:nvSpPr>
          <p:spPr bwMode="auto">
            <a:xfrm>
              <a:off x="6410730" y="4075956"/>
              <a:ext cx="249527" cy="260869"/>
            </a:xfrm>
            <a:custGeom>
              <a:avLst/>
              <a:gdLst>
                <a:gd name="T0" fmla="*/ 0 w 220"/>
                <a:gd name="T1" fmla="*/ 15 h 230"/>
                <a:gd name="T2" fmla="*/ 220 w 220"/>
                <a:gd name="T3" fmla="*/ 0 h 230"/>
                <a:gd name="T4" fmla="*/ 178 w 220"/>
                <a:gd name="T5" fmla="*/ 223 h 230"/>
                <a:gd name="T6" fmla="*/ 73 w 220"/>
                <a:gd name="T7" fmla="*/ 230 h 230"/>
                <a:gd name="T8" fmla="*/ 0 w 220"/>
                <a:gd name="T9" fmla="*/ 15 h 230"/>
              </a:gdLst>
              <a:ahLst/>
              <a:cxnLst>
                <a:cxn ang="0">
                  <a:pos x="T0" y="T1"/>
                </a:cxn>
                <a:cxn ang="0">
                  <a:pos x="T2" y="T3"/>
                </a:cxn>
                <a:cxn ang="0">
                  <a:pos x="T4" y="T5"/>
                </a:cxn>
                <a:cxn ang="0">
                  <a:pos x="T6" y="T7"/>
                </a:cxn>
                <a:cxn ang="0">
                  <a:pos x="T8" y="T9"/>
                </a:cxn>
              </a:cxnLst>
              <a:rect l="0" t="0" r="r" b="b"/>
              <a:pathLst>
                <a:path w="220" h="230">
                  <a:moveTo>
                    <a:pt x="0" y="15"/>
                  </a:moveTo>
                  <a:lnTo>
                    <a:pt x="220" y="0"/>
                  </a:lnTo>
                  <a:lnTo>
                    <a:pt x="178" y="223"/>
                  </a:lnTo>
                  <a:lnTo>
                    <a:pt x="73" y="230"/>
                  </a:lnTo>
                  <a:lnTo>
                    <a:pt x="0" y="15"/>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8" name="iṣḷiḍè"/>
            <p:cNvSpPr/>
            <p:nvPr/>
          </p:nvSpPr>
          <p:spPr bwMode="auto">
            <a:xfrm>
              <a:off x="7161578" y="3230968"/>
              <a:ext cx="262001" cy="248393"/>
            </a:xfrm>
            <a:custGeom>
              <a:avLst/>
              <a:gdLst>
                <a:gd name="T0" fmla="*/ 0 w 231"/>
                <a:gd name="T1" fmla="*/ 0 h 219"/>
                <a:gd name="T2" fmla="*/ 15 w 231"/>
                <a:gd name="T3" fmla="*/ 219 h 219"/>
                <a:gd name="T4" fmla="*/ 231 w 231"/>
                <a:gd name="T5" fmla="*/ 147 h 219"/>
                <a:gd name="T6" fmla="*/ 224 w 231"/>
                <a:gd name="T7" fmla="*/ 42 h 219"/>
                <a:gd name="T8" fmla="*/ 0 w 231"/>
                <a:gd name="T9" fmla="*/ 0 h 219"/>
              </a:gdLst>
              <a:ahLst/>
              <a:cxnLst>
                <a:cxn ang="0">
                  <a:pos x="T0" y="T1"/>
                </a:cxn>
                <a:cxn ang="0">
                  <a:pos x="T2" y="T3"/>
                </a:cxn>
                <a:cxn ang="0">
                  <a:pos x="T4" y="T5"/>
                </a:cxn>
                <a:cxn ang="0">
                  <a:pos x="T6" y="T7"/>
                </a:cxn>
                <a:cxn ang="0">
                  <a:pos x="T8" y="T9"/>
                </a:cxn>
              </a:cxnLst>
              <a:rect l="0" t="0" r="r" b="b"/>
              <a:pathLst>
                <a:path w="231" h="219">
                  <a:moveTo>
                    <a:pt x="0" y="0"/>
                  </a:moveTo>
                  <a:lnTo>
                    <a:pt x="15" y="219"/>
                  </a:lnTo>
                  <a:lnTo>
                    <a:pt x="231" y="147"/>
                  </a:lnTo>
                  <a:lnTo>
                    <a:pt x="224" y="42"/>
                  </a:lnTo>
                  <a:lnTo>
                    <a:pt x="0" y="0"/>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9" name="iṧḻíḓè"/>
            <p:cNvSpPr/>
            <p:nvPr/>
          </p:nvSpPr>
          <p:spPr bwMode="auto">
            <a:xfrm>
              <a:off x="6316591" y="2467644"/>
              <a:ext cx="248392" cy="262003"/>
            </a:xfrm>
            <a:custGeom>
              <a:avLst/>
              <a:gdLst>
                <a:gd name="T0" fmla="*/ 219 w 219"/>
                <a:gd name="T1" fmla="*/ 216 h 231"/>
                <a:gd name="T2" fmla="*/ 0 w 219"/>
                <a:gd name="T3" fmla="*/ 231 h 231"/>
                <a:gd name="T4" fmla="*/ 42 w 219"/>
                <a:gd name="T5" fmla="*/ 7 h 231"/>
                <a:gd name="T6" fmla="*/ 146 w 219"/>
                <a:gd name="T7" fmla="*/ 0 h 231"/>
                <a:gd name="T8" fmla="*/ 219 w 219"/>
                <a:gd name="T9" fmla="*/ 216 h 231"/>
              </a:gdLst>
              <a:ahLst/>
              <a:cxnLst>
                <a:cxn ang="0">
                  <a:pos x="T0" y="T1"/>
                </a:cxn>
                <a:cxn ang="0">
                  <a:pos x="T2" y="T3"/>
                </a:cxn>
                <a:cxn ang="0">
                  <a:pos x="T4" y="T5"/>
                </a:cxn>
                <a:cxn ang="0">
                  <a:pos x="T6" y="T7"/>
                </a:cxn>
                <a:cxn ang="0">
                  <a:pos x="T8" y="T9"/>
                </a:cxn>
              </a:cxnLst>
              <a:rect l="0" t="0" r="r" b="b"/>
              <a:pathLst>
                <a:path w="219" h="231">
                  <a:moveTo>
                    <a:pt x="219" y="216"/>
                  </a:moveTo>
                  <a:lnTo>
                    <a:pt x="0" y="231"/>
                  </a:lnTo>
                  <a:lnTo>
                    <a:pt x="42" y="7"/>
                  </a:lnTo>
                  <a:lnTo>
                    <a:pt x="146" y="0"/>
                  </a:lnTo>
                  <a:lnTo>
                    <a:pt x="219" y="216"/>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0" name="iṣḻíďè"/>
            <p:cNvSpPr/>
            <p:nvPr/>
          </p:nvSpPr>
          <p:spPr bwMode="auto">
            <a:xfrm>
              <a:off x="5801660" y="2717170"/>
              <a:ext cx="1372395" cy="1371262"/>
            </a:xfrm>
            <a:custGeom>
              <a:avLst/>
              <a:gdLst>
                <a:gd name="T0" fmla="*/ 165 w 1552"/>
                <a:gd name="T1" fmla="*/ 1075 h 1552"/>
                <a:gd name="T2" fmla="*/ 1076 w 1552"/>
                <a:gd name="T3" fmla="*/ 1387 h 1552"/>
                <a:gd name="T4" fmla="*/ 1387 w 1552"/>
                <a:gd name="T5" fmla="*/ 477 h 1552"/>
                <a:gd name="T6" fmla="*/ 477 w 1552"/>
                <a:gd name="T7" fmla="*/ 165 h 1552"/>
                <a:gd name="T8" fmla="*/ 165 w 1552"/>
                <a:gd name="T9" fmla="*/ 1075 h 1552"/>
              </a:gdLst>
              <a:ahLst/>
              <a:cxnLst>
                <a:cxn ang="0">
                  <a:pos x="T0" y="T1"/>
                </a:cxn>
                <a:cxn ang="0">
                  <a:pos x="T2" y="T3"/>
                </a:cxn>
                <a:cxn ang="0">
                  <a:pos x="T4" y="T5"/>
                </a:cxn>
                <a:cxn ang="0">
                  <a:pos x="T6" y="T7"/>
                </a:cxn>
                <a:cxn ang="0">
                  <a:pos x="T8" y="T9"/>
                </a:cxn>
              </a:cxnLst>
              <a:rect l="0" t="0" r="r" b="b"/>
              <a:pathLst>
                <a:path w="1552" h="1552">
                  <a:moveTo>
                    <a:pt x="165" y="1075"/>
                  </a:moveTo>
                  <a:cubicBezTo>
                    <a:pt x="331" y="1413"/>
                    <a:pt x="738" y="1552"/>
                    <a:pt x="1076" y="1387"/>
                  </a:cubicBezTo>
                  <a:cubicBezTo>
                    <a:pt x="1413" y="1221"/>
                    <a:pt x="1552" y="814"/>
                    <a:pt x="1387" y="477"/>
                  </a:cubicBezTo>
                  <a:cubicBezTo>
                    <a:pt x="1222" y="139"/>
                    <a:pt x="814" y="0"/>
                    <a:pt x="477" y="165"/>
                  </a:cubicBezTo>
                  <a:cubicBezTo>
                    <a:pt x="139" y="331"/>
                    <a:pt x="0" y="738"/>
                    <a:pt x="165" y="1075"/>
                  </a:cubicBezTo>
                  <a:close/>
                </a:path>
              </a:pathLst>
            </a:custGeom>
            <a:solidFill>
              <a:schemeClr val="bg1"/>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41" name="ïśliḓè"/>
            <p:cNvSpPr/>
            <p:nvPr/>
          </p:nvSpPr>
          <p:spPr bwMode="auto">
            <a:xfrm>
              <a:off x="4289757" y="1833619"/>
              <a:ext cx="1514171" cy="1513040"/>
            </a:xfrm>
            <a:custGeom>
              <a:avLst/>
              <a:gdLst>
                <a:gd name="T0" fmla="*/ 115 w 1712"/>
                <a:gd name="T1" fmla="*/ 1065 h 1713"/>
                <a:gd name="T2" fmla="*/ 1065 w 1712"/>
                <a:gd name="T3" fmla="*/ 1597 h 1713"/>
                <a:gd name="T4" fmla="*/ 1597 w 1712"/>
                <a:gd name="T5" fmla="*/ 647 h 1713"/>
                <a:gd name="T6" fmla="*/ 647 w 1712"/>
                <a:gd name="T7" fmla="*/ 116 h 1713"/>
                <a:gd name="T8" fmla="*/ 115 w 1712"/>
                <a:gd name="T9" fmla="*/ 1065 h 1713"/>
              </a:gdLst>
              <a:ahLst/>
              <a:cxnLst>
                <a:cxn ang="0">
                  <a:pos x="T0" y="T1"/>
                </a:cxn>
                <a:cxn ang="0">
                  <a:pos x="T2" y="T3"/>
                </a:cxn>
                <a:cxn ang="0">
                  <a:pos x="T4" y="T5"/>
                </a:cxn>
                <a:cxn ang="0">
                  <a:pos x="T6" y="T7"/>
                </a:cxn>
                <a:cxn ang="0">
                  <a:pos x="T8" y="T9"/>
                </a:cxn>
              </a:cxnLst>
              <a:rect l="0" t="0" r="r" b="b"/>
              <a:pathLst>
                <a:path w="1712" h="1713">
                  <a:moveTo>
                    <a:pt x="115" y="1065"/>
                  </a:moveTo>
                  <a:cubicBezTo>
                    <a:pt x="231" y="1475"/>
                    <a:pt x="656" y="1713"/>
                    <a:pt x="1065" y="1597"/>
                  </a:cubicBezTo>
                  <a:cubicBezTo>
                    <a:pt x="1474" y="1482"/>
                    <a:pt x="1712" y="1056"/>
                    <a:pt x="1597" y="647"/>
                  </a:cubicBezTo>
                  <a:cubicBezTo>
                    <a:pt x="1481" y="238"/>
                    <a:pt x="1056" y="0"/>
                    <a:pt x="647" y="116"/>
                  </a:cubicBezTo>
                  <a:cubicBezTo>
                    <a:pt x="238" y="231"/>
                    <a:pt x="0" y="656"/>
                    <a:pt x="115" y="1065"/>
                  </a:cubicBezTo>
                  <a:close/>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42" name="ísḻïďé"/>
            <p:cNvSpPr/>
            <p:nvPr/>
          </p:nvSpPr>
          <p:spPr bwMode="auto">
            <a:xfrm>
              <a:off x="4464426" y="2008288"/>
              <a:ext cx="1164833" cy="1163702"/>
            </a:xfrm>
            <a:custGeom>
              <a:avLst/>
              <a:gdLst>
                <a:gd name="T0" fmla="*/ 88 w 1317"/>
                <a:gd name="T1" fmla="*/ 819 h 1317"/>
                <a:gd name="T2" fmla="*/ 819 w 1317"/>
                <a:gd name="T3" fmla="*/ 1228 h 1317"/>
                <a:gd name="T4" fmla="*/ 1228 w 1317"/>
                <a:gd name="T5" fmla="*/ 498 h 1317"/>
                <a:gd name="T6" fmla="*/ 497 w 1317"/>
                <a:gd name="T7" fmla="*/ 89 h 1317"/>
                <a:gd name="T8" fmla="*/ 88 w 1317"/>
                <a:gd name="T9" fmla="*/ 819 h 1317"/>
              </a:gdLst>
              <a:ahLst/>
              <a:cxnLst>
                <a:cxn ang="0">
                  <a:pos x="T0" y="T1"/>
                </a:cxn>
                <a:cxn ang="0">
                  <a:pos x="T2" y="T3"/>
                </a:cxn>
                <a:cxn ang="0">
                  <a:pos x="T4" y="T5"/>
                </a:cxn>
                <a:cxn ang="0">
                  <a:pos x="T6" y="T7"/>
                </a:cxn>
                <a:cxn ang="0">
                  <a:pos x="T8" y="T9"/>
                </a:cxn>
              </a:cxnLst>
              <a:rect l="0" t="0" r="r" b="b"/>
              <a:pathLst>
                <a:path w="1317" h="1317">
                  <a:moveTo>
                    <a:pt x="88" y="819"/>
                  </a:moveTo>
                  <a:cubicBezTo>
                    <a:pt x="177" y="1134"/>
                    <a:pt x="504" y="1317"/>
                    <a:pt x="819" y="1228"/>
                  </a:cubicBezTo>
                  <a:cubicBezTo>
                    <a:pt x="1134" y="1139"/>
                    <a:pt x="1317" y="812"/>
                    <a:pt x="1228" y="498"/>
                  </a:cubicBezTo>
                  <a:cubicBezTo>
                    <a:pt x="1139" y="183"/>
                    <a:pt x="812" y="0"/>
                    <a:pt x="497" y="89"/>
                  </a:cubicBezTo>
                  <a:cubicBezTo>
                    <a:pt x="183" y="177"/>
                    <a:pt x="0" y="505"/>
                    <a:pt x="88" y="819"/>
                  </a:cubicBezTo>
                  <a:close/>
                </a:path>
              </a:pathLst>
            </a:custGeom>
            <a:solidFill>
              <a:schemeClr val="bg1"/>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43" name="ïṣ1ïdé"/>
            <p:cNvSpPr/>
            <p:nvPr/>
          </p:nvSpPr>
          <p:spPr bwMode="auto">
            <a:xfrm>
              <a:off x="4775200" y="1792787"/>
              <a:ext cx="214365" cy="256331"/>
            </a:xfrm>
            <a:custGeom>
              <a:avLst/>
              <a:gdLst>
                <a:gd name="T0" fmla="*/ 5 w 189"/>
                <a:gd name="T1" fmla="*/ 226 h 226"/>
                <a:gd name="T2" fmla="*/ 189 w 189"/>
                <a:gd name="T3" fmla="*/ 175 h 226"/>
                <a:gd name="T4" fmla="*/ 88 w 189"/>
                <a:gd name="T5" fmla="*/ 0 h 226"/>
                <a:gd name="T6" fmla="*/ 0 w 189"/>
                <a:gd name="T7" fmla="*/ 25 h 226"/>
                <a:gd name="T8" fmla="*/ 5 w 189"/>
                <a:gd name="T9" fmla="*/ 226 h 226"/>
              </a:gdLst>
              <a:ahLst/>
              <a:cxnLst>
                <a:cxn ang="0">
                  <a:pos x="T0" y="T1"/>
                </a:cxn>
                <a:cxn ang="0">
                  <a:pos x="T2" y="T3"/>
                </a:cxn>
                <a:cxn ang="0">
                  <a:pos x="T4" y="T5"/>
                </a:cxn>
                <a:cxn ang="0">
                  <a:pos x="T6" y="T7"/>
                </a:cxn>
                <a:cxn ang="0">
                  <a:pos x="T8" y="T9"/>
                </a:cxn>
              </a:cxnLst>
              <a:rect l="0" t="0" r="r" b="b"/>
              <a:pathLst>
                <a:path w="189" h="226">
                  <a:moveTo>
                    <a:pt x="5" y="226"/>
                  </a:moveTo>
                  <a:lnTo>
                    <a:pt x="189" y="175"/>
                  </a:lnTo>
                  <a:lnTo>
                    <a:pt x="88" y="0"/>
                  </a:lnTo>
                  <a:lnTo>
                    <a:pt x="0" y="25"/>
                  </a:lnTo>
                  <a:lnTo>
                    <a:pt x="5" y="22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4" name="iṥḻîḓé"/>
            <p:cNvSpPr/>
            <p:nvPr/>
          </p:nvSpPr>
          <p:spPr bwMode="auto">
            <a:xfrm>
              <a:off x="4247792" y="2646850"/>
              <a:ext cx="257466" cy="214367"/>
            </a:xfrm>
            <a:custGeom>
              <a:avLst/>
              <a:gdLst>
                <a:gd name="T0" fmla="*/ 175 w 227"/>
                <a:gd name="T1" fmla="*/ 0 h 189"/>
                <a:gd name="T2" fmla="*/ 227 w 227"/>
                <a:gd name="T3" fmla="*/ 184 h 189"/>
                <a:gd name="T4" fmla="*/ 25 w 227"/>
                <a:gd name="T5" fmla="*/ 189 h 189"/>
                <a:gd name="T6" fmla="*/ 0 w 227"/>
                <a:gd name="T7" fmla="*/ 102 h 189"/>
                <a:gd name="T8" fmla="*/ 175 w 227"/>
                <a:gd name="T9" fmla="*/ 0 h 189"/>
              </a:gdLst>
              <a:ahLst/>
              <a:cxnLst>
                <a:cxn ang="0">
                  <a:pos x="T0" y="T1"/>
                </a:cxn>
                <a:cxn ang="0">
                  <a:pos x="T2" y="T3"/>
                </a:cxn>
                <a:cxn ang="0">
                  <a:pos x="T4" y="T5"/>
                </a:cxn>
                <a:cxn ang="0">
                  <a:pos x="T6" y="T7"/>
                </a:cxn>
                <a:cxn ang="0">
                  <a:pos x="T8" y="T9"/>
                </a:cxn>
              </a:cxnLst>
              <a:rect l="0" t="0" r="r" b="b"/>
              <a:pathLst>
                <a:path w="227" h="189">
                  <a:moveTo>
                    <a:pt x="175" y="0"/>
                  </a:moveTo>
                  <a:lnTo>
                    <a:pt x="227" y="184"/>
                  </a:lnTo>
                  <a:lnTo>
                    <a:pt x="25" y="189"/>
                  </a:lnTo>
                  <a:lnTo>
                    <a:pt x="0" y="102"/>
                  </a:lnTo>
                  <a:lnTo>
                    <a:pt x="175"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45" name="îṩļïďe"/>
            <p:cNvSpPr/>
            <p:nvPr/>
          </p:nvSpPr>
          <p:spPr bwMode="auto">
            <a:xfrm>
              <a:off x="5102986" y="3130025"/>
              <a:ext cx="215500" cy="257466"/>
            </a:xfrm>
            <a:custGeom>
              <a:avLst/>
              <a:gdLst>
                <a:gd name="T0" fmla="*/ 184 w 190"/>
                <a:gd name="T1" fmla="*/ 0 h 227"/>
                <a:gd name="T2" fmla="*/ 0 w 190"/>
                <a:gd name="T3" fmla="*/ 52 h 227"/>
                <a:gd name="T4" fmla="*/ 102 w 190"/>
                <a:gd name="T5" fmla="*/ 227 h 227"/>
                <a:gd name="T6" fmla="*/ 190 w 190"/>
                <a:gd name="T7" fmla="*/ 202 h 227"/>
                <a:gd name="T8" fmla="*/ 184 w 190"/>
                <a:gd name="T9" fmla="*/ 0 h 227"/>
              </a:gdLst>
              <a:ahLst/>
              <a:cxnLst>
                <a:cxn ang="0">
                  <a:pos x="T0" y="T1"/>
                </a:cxn>
                <a:cxn ang="0">
                  <a:pos x="T2" y="T3"/>
                </a:cxn>
                <a:cxn ang="0">
                  <a:pos x="T4" y="T5"/>
                </a:cxn>
                <a:cxn ang="0">
                  <a:pos x="T6" y="T7"/>
                </a:cxn>
                <a:cxn ang="0">
                  <a:pos x="T8" y="T9"/>
                </a:cxn>
              </a:cxnLst>
              <a:rect l="0" t="0" r="r" b="b"/>
              <a:pathLst>
                <a:path w="190" h="227">
                  <a:moveTo>
                    <a:pt x="184" y="0"/>
                  </a:moveTo>
                  <a:lnTo>
                    <a:pt x="0" y="52"/>
                  </a:lnTo>
                  <a:lnTo>
                    <a:pt x="102" y="227"/>
                  </a:lnTo>
                  <a:lnTo>
                    <a:pt x="190" y="202"/>
                  </a:lnTo>
                  <a:lnTo>
                    <a:pt x="18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6" name="íślíḋè"/>
            <p:cNvSpPr/>
            <p:nvPr/>
          </p:nvSpPr>
          <p:spPr bwMode="auto">
            <a:xfrm>
              <a:off x="5587294" y="2320197"/>
              <a:ext cx="258600" cy="213232"/>
            </a:xfrm>
            <a:custGeom>
              <a:avLst/>
              <a:gdLst>
                <a:gd name="T0" fmla="*/ 52 w 228"/>
                <a:gd name="T1" fmla="*/ 188 h 188"/>
                <a:gd name="T2" fmla="*/ 0 w 228"/>
                <a:gd name="T3" fmla="*/ 4 h 188"/>
                <a:gd name="T4" fmla="*/ 203 w 228"/>
                <a:gd name="T5" fmla="*/ 0 h 188"/>
                <a:gd name="T6" fmla="*/ 228 w 228"/>
                <a:gd name="T7" fmla="*/ 87 h 188"/>
                <a:gd name="T8" fmla="*/ 52 w 228"/>
                <a:gd name="T9" fmla="*/ 188 h 188"/>
              </a:gdLst>
              <a:ahLst/>
              <a:cxnLst>
                <a:cxn ang="0">
                  <a:pos x="T0" y="T1"/>
                </a:cxn>
                <a:cxn ang="0">
                  <a:pos x="T2" y="T3"/>
                </a:cxn>
                <a:cxn ang="0">
                  <a:pos x="T4" y="T5"/>
                </a:cxn>
                <a:cxn ang="0">
                  <a:pos x="T6" y="T7"/>
                </a:cxn>
                <a:cxn ang="0">
                  <a:pos x="T8" y="T9"/>
                </a:cxn>
              </a:cxnLst>
              <a:rect l="0" t="0" r="r" b="b"/>
              <a:pathLst>
                <a:path w="228" h="188">
                  <a:moveTo>
                    <a:pt x="52" y="188"/>
                  </a:moveTo>
                  <a:lnTo>
                    <a:pt x="0" y="4"/>
                  </a:lnTo>
                  <a:lnTo>
                    <a:pt x="203" y="0"/>
                  </a:lnTo>
                  <a:lnTo>
                    <a:pt x="228" y="87"/>
                  </a:lnTo>
                  <a:lnTo>
                    <a:pt x="52" y="18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47" name="iSḻïḑe"/>
            <p:cNvSpPr/>
            <p:nvPr/>
          </p:nvSpPr>
          <p:spPr bwMode="auto">
            <a:xfrm>
              <a:off x="4311307" y="2147797"/>
              <a:ext cx="268807" cy="247258"/>
            </a:xfrm>
            <a:custGeom>
              <a:avLst/>
              <a:gdLst>
                <a:gd name="T0" fmla="*/ 144 w 237"/>
                <a:gd name="T1" fmla="*/ 218 h 218"/>
                <a:gd name="T2" fmla="*/ 237 w 237"/>
                <a:gd name="T3" fmla="*/ 51 h 218"/>
                <a:gd name="T4" fmla="*/ 45 w 237"/>
                <a:gd name="T5" fmla="*/ 0 h 218"/>
                <a:gd name="T6" fmla="*/ 0 w 237"/>
                <a:gd name="T7" fmla="*/ 80 h 218"/>
                <a:gd name="T8" fmla="*/ 144 w 237"/>
                <a:gd name="T9" fmla="*/ 218 h 218"/>
              </a:gdLst>
              <a:ahLst/>
              <a:cxnLst>
                <a:cxn ang="0">
                  <a:pos x="T0" y="T1"/>
                </a:cxn>
                <a:cxn ang="0">
                  <a:pos x="T2" y="T3"/>
                </a:cxn>
                <a:cxn ang="0">
                  <a:pos x="T4" y="T5"/>
                </a:cxn>
                <a:cxn ang="0">
                  <a:pos x="T6" y="T7"/>
                </a:cxn>
                <a:cxn ang="0">
                  <a:pos x="T8" y="T9"/>
                </a:cxn>
              </a:cxnLst>
              <a:rect l="0" t="0" r="r" b="b"/>
              <a:pathLst>
                <a:path w="237" h="218">
                  <a:moveTo>
                    <a:pt x="144" y="218"/>
                  </a:moveTo>
                  <a:lnTo>
                    <a:pt x="237" y="51"/>
                  </a:lnTo>
                  <a:lnTo>
                    <a:pt x="45" y="0"/>
                  </a:lnTo>
                  <a:lnTo>
                    <a:pt x="0" y="80"/>
                  </a:lnTo>
                  <a:lnTo>
                    <a:pt x="144" y="21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8" name="iśḻíde"/>
            <p:cNvSpPr/>
            <p:nvPr/>
          </p:nvSpPr>
          <p:spPr bwMode="auto">
            <a:xfrm>
              <a:off x="4603935" y="3056300"/>
              <a:ext cx="246123" cy="267674"/>
            </a:xfrm>
            <a:custGeom>
              <a:avLst/>
              <a:gdLst>
                <a:gd name="T0" fmla="*/ 50 w 217"/>
                <a:gd name="T1" fmla="*/ 0 h 236"/>
                <a:gd name="T2" fmla="*/ 217 w 217"/>
                <a:gd name="T3" fmla="*/ 94 h 236"/>
                <a:gd name="T4" fmla="*/ 80 w 217"/>
                <a:gd name="T5" fmla="*/ 236 h 236"/>
                <a:gd name="T6" fmla="*/ 0 w 217"/>
                <a:gd name="T7" fmla="*/ 192 h 236"/>
                <a:gd name="T8" fmla="*/ 50 w 217"/>
                <a:gd name="T9" fmla="*/ 0 h 236"/>
              </a:gdLst>
              <a:ahLst/>
              <a:cxnLst>
                <a:cxn ang="0">
                  <a:pos x="T0" y="T1"/>
                </a:cxn>
                <a:cxn ang="0">
                  <a:pos x="T2" y="T3"/>
                </a:cxn>
                <a:cxn ang="0">
                  <a:pos x="T4" y="T5"/>
                </a:cxn>
                <a:cxn ang="0">
                  <a:pos x="T6" y="T7"/>
                </a:cxn>
                <a:cxn ang="0">
                  <a:pos x="T8" y="T9"/>
                </a:cxn>
              </a:cxnLst>
              <a:rect l="0" t="0" r="r" b="b"/>
              <a:pathLst>
                <a:path w="217" h="236">
                  <a:moveTo>
                    <a:pt x="50" y="0"/>
                  </a:moveTo>
                  <a:lnTo>
                    <a:pt x="217" y="94"/>
                  </a:lnTo>
                  <a:lnTo>
                    <a:pt x="80" y="236"/>
                  </a:lnTo>
                  <a:lnTo>
                    <a:pt x="0" y="192"/>
                  </a:lnTo>
                  <a:lnTo>
                    <a:pt x="5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49" name="ïSľiḋè"/>
            <p:cNvSpPr/>
            <p:nvPr/>
          </p:nvSpPr>
          <p:spPr bwMode="auto">
            <a:xfrm>
              <a:off x="5513571" y="2786358"/>
              <a:ext cx="268807" cy="244990"/>
            </a:xfrm>
            <a:custGeom>
              <a:avLst/>
              <a:gdLst>
                <a:gd name="T0" fmla="*/ 93 w 237"/>
                <a:gd name="T1" fmla="*/ 0 h 216"/>
                <a:gd name="T2" fmla="*/ 0 w 237"/>
                <a:gd name="T3" fmla="*/ 166 h 216"/>
                <a:gd name="T4" fmla="*/ 192 w 237"/>
                <a:gd name="T5" fmla="*/ 216 h 216"/>
                <a:gd name="T6" fmla="*/ 237 w 237"/>
                <a:gd name="T7" fmla="*/ 137 h 216"/>
                <a:gd name="T8" fmla="*/ 93 w 237"/>
                <a:gd name="T9" fmla="*/ 0 h 216"/>
              </a:gdLst>
              <a:ahLst/>
              <a:cxnLst>
                <a:cxn ang="0">
                  <a:pos x="T0" y="T1"/>
                </a:cxn>
                <a:cxn ang="0">
                  <a:pos x="T2" y="T3"/>
                </a:cxn>
                <a:cxn ang="0">
                  <a:pos x="T4" y="T5"/>
                </a:cxn>
                <a:cxn ang="0">
                  <a:pos x="T6" y="T7"/>
                </a:cxn>
                <a:cxn ang="0">
                  <a:pos x="T8" y="T9"/>
                </a:cxn>
              </a:cxnLst>
              <a:rect l="0" t="0" r="r" b="b"/>
              <a:pathLst>
                <a:path w="237" h="216">
                  <a:moveTo>
                    <a:pt x="93" y="0"/>
                  </a:moveTo>
                  <a:lnTo>
                    <a:pt x="0" y="166"/>
                  </a:lnTo>
                  <a:lnTo>
                    <a:pt x="192" y="216"/>
                  </a:lnTo>
                  <a:lnTo>
                    <a:pt x="237" y="137"/>
                  </a:lnTo>
                  <a:lnTo>
                    <a:pt x="9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50" name="îṡļïḑè"/>
            <p:cNvSpPr/>
            <p:nvPr/>
          </p:nvSpPr>
          <p:spPr bwMode="auto">
            <a:xfrm>
              <a:off x="5242494" y="1856304"/>
              <a:ext cx="246123" cy="267674"/>
            </a:xfrm>
            <a:custGeom>
              <a:avLst/>
              <a:gdLst>
                <a:gd name="T0" fmla="*/ 167 w 217"/>
                <a:gd name="T1" fmla="*/ 236 h 236"/>
                <a:gd name="T2" fmla="*/ 0 w 217"/>
                <a:gd name="T3" fmla="*/ 143 h 236"/>
                <a:gd name="T4" fmla="*/ 138 w 217"/>
                <a:gd name="T5" fmla="*/ 0 h 236"/>
                <a:gd name="T6" fmla="*/ 217 w 217"/>
                <a:gd name="T7" fmla="*/ 45 h 236"/>
                <a:gd name="T8" fmla="*/ 167 w 217"/>
                <a:gd name="T9" fmla="*/ 236 h 236"/>
              </a:gdLst>
              <a:ahLst/>
              <a:cxnLst>
                <a:cxn ang="0">
                  <a:pos x="T0" y="T1"/>
                </a:cxn>
                <a:cxn ang="0">
                  <a:pos x="T2" y="T3"/>
                </a:cxn>
                <a:cxn ang="0">
                  <a:pos x="T4" y="T5"/>
                </a:cxn>
                <a:cxn ang="0">
                  <a:pos x="T6" y="T7"/>
                </a:cxn>
                <a:cxn ang="0">
                  <a:pos x="T8" y="T9"/>
                </a:cxn>
              </a:cxnLst>
              <a:rect l="0" t="0" r="r" b="b"/>
              <a:pathLst>
                <a:path w="217" h="236">
                  <a:moveTo>
                    <a:pt x="167" y="236"/>
                  </a:moveTo>
                  <a:lnTo>
                    <a:pt x="0" y="143"/>
                  </a:lnTo>
                  <a:lnTo>
                    <a:pt x="138" y="0"/>
                  </a:lnTo>
                  <a:lnTo>
                    <a:pt x="217" y="45"/>
                  </a:lnTo>
                  <a:lnTo>
                    <a:pt x="167" y="23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51" name="ïṥ1îḑé"/>
            <p:cNvSpPr/>
            <p:nvPr/>
          </p:nvSpPr>
          <p:spPr bwMode="auto">
            <a:xfrm>
              <a:off x="4498452" y="1924357"/>
              <a:ext cx="262001" cy="268809"/>
            </a:xfrm>
            <a:custGeom>
              <a:avLst/>
              <a:gdLst>
                <a:gd name="T0" fmla="*/ 81 w 231"/>
                <a:gd name="T1" fmla="*/ 237 h 237"/>
                <a:gd name="T2" fmla="*/ 231 w 231"/>
                <a:gd name="T3" fmla="*/ 118 h 237"/>
                <a:gd name="T4" fmla="*/ 71 w 231"/>
                <a:gd name="T5" fmla="*/ 0 h 237"/>
                <a:gd name="T6" fmla="*/ 0 w 231"/>
                <a:gd name="T7" fmla="*/ 57 h 237"/>
                <a:gd name="T8" fmla="*/ 81 w 231"/>
                <a:gd name="T9" fmla="*/ 237 h 237"/>
              </a:gdLst>
              <a:ahLst/>
              <a:cxnLst>
                <a:cxn ang="0">
                  <a:pos x="T0" y="T1"/>
                </a:cxn>
                <a:cxn ang="0">
                  <a:pos x="T2" y="T3"/>
                </a:cxn>
                <a:cxn ang="0">
                  <a:pos x="T4" y="T5"/>
                </a:cxn>
                <a:cxn ang="0">
                  <a:pos x="T6" y="T7"/>
                </a:cxn>
                <a:cxn ang="0">
                  <a:pos x="T8" y="T9"/>
                </a:cxn>
              </a:cxnLst>
              <a:rect l="0" t="0" r="r" b="b"/>
              <a:pathLst>
                <a:path w="231" h="237">
                  <a:moveTo>
                    <a:pt x="81" y="237"/>
                  </a:moveTo>
                  <a:lnTo>
                    <a:pt x="231" y="118"/>
                  </a:lnTo>
                  <a:lnTo>
                    <a:pt x="71" y="0"/>
                  </a:lnTo>
                  <a:lnTo>
                    <a:pt x="0" y="57"/>
                  </a:lnTo>
                  <a:lnTo>
                    <a:pt x="81" y="23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52" name="íṩlîḓe"/>
            <p:cNvSpPr/>
            <p:nvPr/>
          </p:nvSpPr>
          <p:spPr bwMode="auto">
            <a:xfrm>
              <a:off x="4379360" y="2877095"/>
              <a:ext cx="269941" cy="260869"/>
            </a:xfrm>
            <a:custGeom>
              <a:avLst/>
              <a:gdLst>
                <a:gd name="T0" fmla="*/ 119 w 238"/>
                <a:gd name="T1" fmla="*/ 0 h 230"/>
                <a:gd name="T2" fmla="*/ 238 w 238"/>
                <a:gd name="T3" fmla="*/ 149 h 230"/>
                <a:gd name="T4" fmla="*/ 57 w 238"/>
                <a:gd name="T5" fmla="*/ 230 h 230"/>
                <a:gd name="T6" fmla="*/ 0 w 238"/>
                <a:gd name="T7" fmla="*/ 159 h 230"/>
                <a:gd name="T8" fmla="*/ 119 w 238"/>
                <a:gd name="T9" fmla="*/ 0 h 230"/>
              </a:gdLst>
              <a:ahLst/>
              <a:cxnLst>
                <a:cxn ang="0">
                  <a:pos x="T0" y="T1"/>
                </a:cxn>
                <a:cxn ang="0">
                  <a:pos x="T2" y="T3"/>
                </a:cxn>
                <a:cxn ang="0">
                  <a:pos x="T4" y="T5"/>
                </a:cxn>
                <a:cxn ang="0">
                  <a:pos x="T6" y="T7"/>
                </a:cxn>
                <a:cxn ang="0">
                  <a:pos x="T8" y="T9"/>
                </a:cxn>
              </a:cxnLst>
              <a:rect l="0" t="0" r="r" b="b"/>
              <a:pathLst>
                <a:path w="238" h="230">
                  <a:moveTo>
                    <a:pt x="119" y="0"/>
                  </a:moveTo>
                  <a:lnTo>
                    <a:pt x="238" y="149"/>
                  </a:lnTo>
                  <a:lnTo>
                    <a:pt x="57" y="230"/>
                  </a:lnTo>
                  <a:lnTo>
                    <a:pt x="0" y="159"/>
                  </a:lnTo>
                  <a:lnTo>
                    <a:pt x="11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53" name="îsḻïḍè"/>
            <p:cNvSpPr/>
            <p:nvPr/>
          </p:nvSpPr>
          <p:spPr bwMode="auto">
            <a:xfrm>
              <a:off x="5334365" y="2987114"/>
              <a:ext cx="260869" cy="269943"/>
            </a:xfrm>
            <a:custGeom>
              <a:avLst/>
              <a:gdLst>
                <a:gd name="T0" fmla="*/ 149 w 230"/>
                <a:gd name="T1" fmla="*/ 0 h 238"/>
                <a:gd name="T2" fmla="*/ 0 w 230"/>
                <a:gd name="T3" fmla="*/ 119 h 238"/>
                <a:gd name="T4" fmla="*/ 158 w 230"/>
                <a:gd name="T5" fmla="*/ 238 h 238"/>
                <a:gd name="T6" fmla="*/ 230 w 230"/>
                <a:gd name="T7" fmla="*/ 181 h 238"/>
                <a:gd name="T8" fmla="*/ 149 w 230"/>
                <a:gd name="T9" fmla="*/ 0 h 238"/>
              </a:gdLst>
              <a:ahLst/>
              <a:cxnLst>
                <a:cxn ang="0">
                  <a:pos x="T0" y="T1"/>
                </a:cxn>
                <a:cxn ang="0">
                  <a:pos x="T2" y="T3"/>
                </a:cxn>
                <a:cxn ang="0">
                  <a:pos x="T4" y="T5"/>
                </a:cxn>
                <a:cxn ang="0">
                  <a:pos x="T6" y="T7"/>
                </a:cxn>
                <a:cxn ang="0">
                  <a:pos x="T8" y="T9"/>
                </a:cxn>
              </a:cxnLst>
              <a:rect l="0" t="0" r="r" b="b"/>
              <a:pathLst>
                <a:path w="230" h="238">
                  <a:moveTo>
                    <a:pt x="149" y="0"/>
                  </a:moveTo>
                  <a:lnTo>
                    <a:pt x="0" y="119"/>
                  </a:lnTo>
                  <a:lnTo>
                    <a:pt x="158" y="238"/>
                  </a:lnTo>
                  <a:lnTo>
                    <a:pt x="230" y="181"/>
                  </a:lnTo>
                  <a:lnTo>
                    <a:pt x="14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54" name="îśľíďê"/>
            <p:cNvSpPr/>
            <p:nvPr/>
          </p:nvSpPr>
          <p:spPr bwMode="auto">
            <a:xfrm>
              <a:off x="5444384" y="2043449"/>
              <a:ext cx="269941" cy="260869"/>
            </a:xfrm>
            <a:custGeom>
              <a:avLst/>
              <a:gdLst>
                <a:gd name="T0" fmla="*/ 119 w 238"/>
                <a:gd name="T1" fmla="*/ 230 h 230"/>
                <a:gd name="T2" fmla="*/ 0 w 238"/>
                <a:gd name="T3" fmla="*/ 80 h 230"/>
                <a:gd name="T4" fmla="*/ 181 w 238"/>
                <a:gd name="T5" fmla="*/ 0 h 230"/>
                <a:gd name="T6" fmla="*/ 238 w 238"/>
                <a:gd name="T7" fmla="*/ 71 h 230"/>
                <a:gd name="T8" fmla="*/ 119 w 238"/>
                <a:gd name="T9" fmla="*/ 230 h 230"/>
              </a:gdLst>
              <a:ahLst/>
              <a:cxnLst>
                <a:cxn ang="0">
                  <a:pos x="T0" y="T1"/>
                </a:cxn>
                <a:cxn ang="0">
                  <a:pos x="T2" y="T3"/>
                </a:cxn>
                <a:cxn ang="0">
                  <a:pos x="T4" y="T5"/>
                </a:cxn>
                <a:cxn ang="0">
                  <a:pos x="T6" y="T7"/>
                </a:cxn>
                <a:cxn ang="0">
                  <a:pos x="T8" y="T9"/>
                </a:cxn>
              </a:cxnLst>
              <a:rect l="0" t="0" r="r" b="b"/>
              <a:pathLst>
                <a:path w="238" h="230">
                  <a:moveTo>
                    <a:pt x="119" y="230"/>
                  </a:moveTo>
                  <a:lnTo>
                    <a:pt x="0" y="80"/>
                  </a:lnTo>
                  <a:lnTo>
                    <a:pt x="181" y="0"/>
                  </a:lnTo>
                  <a:lnTo>
                    <a:pt x="238" y="71"/>
                  </a:lnTo>
                  <a:lnTo>
                    <a:pt x="119" y="23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55" name="îS1ïḓê"/>
            <p:cNvSpPr/>
            <p:nvPr/>
          </p:nvSpPr>
          <p:spPr bwMode="auto">
            <a:xfrm>
              <a:off x="4233047" y="2416605"/>
              <a:ext cx="233647" cy="215500"/>
            </a:xfrm>
            <a:custGeom>
              <a:avLst/>
              <a:gdLst>
                <a:gd name="T0" fmla="*/ 185 w 206"/>
                <a:gd name="T1" fmla="*/ 190 h 190"/>
                <a:gd name="T2" fmla="*/ 206 w 206"/>
                <a:gd name="T3" fmla="*/ 0 h 190"/>
                <a:gd name="T4" fmla="*/ 10 w 206"/>
                <a:gd name="T5" fmla="*/ 28 h 190"/>
                <a:gd name="T6" fmla="*/ 0 w 206"/>
                <a:gd name="T7" fmla="*/ 119 h 190"/>
                <a:gd name="T8" fmla="*/ 185 w 206"/>
                <a:gd name="T9" fmla="*/ 190 h 190"/>
              </a:gdLst>
              <a:ahLst/>
              <a:cxnLst>
                <a:cxn ang="0">
                  <a:pos x="T0" y="T1"/>
                </a:cxn>
                <a:cxn ang="0">
                  <a:pos x="T2" y="T3"/>
                </a:cxn>
                <a:cxn ang="0">
                  <a:pos x="T4" y="T5"/>
                </a:cxn>
                <a:cxn ang="0">
                  <a:pos x="T6" y="T7"/>
                </a:cxn>
                <a:cxn ang="0">
                  <a:pos x="T8" y="T9"/>
                </a:cxn>
              </a:cxnLst>
              <a:rect l="0" t="0" r="r" b="b"/>
              <a:pathLst>
                <a:path w="206" h="190">
                  <a:moveTo>
                    <a:pt x="185" y="190"/>
                  </a:moveTo>
                  <a:lnTo>
                    <a:pt x="206" y="0"/>
                  </a:lnTo>
                  <a:lnTo>
                    <a:pt x="10" y="28"/>
                  </a:lnTo>
                  <a:lnTo>
                    <a:pt x="0" y="119"/>
                  </a:lnTo>
                  <a:lnTo>
                    <a:pt x="185" y="19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6" name="ïṡľîḋe"/>
            <p:cNvSpPr/>
            <p:nvPr/>
          </p:nvSpPr>
          <p:spPr bwMode="auto">
            <a:xfrm>
              <a:off x="4872741" y="3169721"/>
              <a:ext cx="215500" cy="232514"/>
            </a:xfrm>
            <a:custGeom>
              <a:avLst/>
              <a:gdLst>
                <a:gd name="T0" fmla="*/ 0 w 190"/>
                <a:gd name="T1" fmla="*/ 0 h 205"/>
                <a:gd name="T2" fmla="*/ 190 w 190"/>
                <a:gd name="T3" fmla="*/ 21 h 205"/>
                <a:gd name="T4" fmla="*/ 119 w 190"/>
                <a:gd name="T5" fmla="*/ 205 h 205"/>
                <a:gd name="T6" fmla="*/ 28 w 190"/>
                <a:gd name="T7" fmla="*/ 195 h 205"/>
                <a:gd name="T8" fmla="*/ 0 w 190"/>
                <a:gd name="T9" fmla="*/ 0 h 205"/>
              </a:gdLst>
              <a:ahLst/>
              <a:cxnLst>
                <a:cxn ang="0">
                  <a:pos x="T0" y="T1"/>
                </a:cxn>
                <a:cxn ang="0">
                  <a:pos x="T2" y="T3"/>
                </a:cxn>
                <a:cxn ang="0">
                  <a:pos x="T4" y="T5"/>
                </a:cxn>
                <a:cxn ang="0">
                  <a:pos x="T6" y="T7"/>
                </a:cxn>
                <a:cxn ang="0">
                  <a:pos x="T8" y="T9"/>
                </a:cxn>
              </a:cxnLst>
              <a:rect l="0" t="0" r="r" b="b"/>
              <a:pathLst>
                <a:path w="190" h="205">
                  <a:moveTo>
                    <a:pt x="0" y="0"/>
                  </a:moveTo>
                  <a:lnTo>
                    <a:pt x="190" y="21"/>
                  </a:lnTo>
                  <a:lnTo>
                    <a:pt x="119" y="205"/>
                  </a:lnTo>
                  <a:lnTo>
                    <a:pt x="28" y="195"/>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7" name="ïṡḷídé"/>
            <p:cNvSpPr/>
            <p:nvPr/>
          </p:nvSpPr>
          <p:spPr bwMode="auto">
            <a:xfrm>
              <a:off x="5625856" y="2548173"/>
              <a:ext cx="234782" cy="215500"/>
            </a:xfrm>
            <a:custGeom>
              <a:avLst/>
              <a:gdLst>
                <a:gd name="T0" fmla="*/ 22 w 207"/>
                <a:gd name="T1" fmla="*/ 0 h 190"/>
                <a:gd name="T2" fmla="*/ 0 w 207"/>
                <a:gd name="T3" fmla="*/ 190 h 190"/>
                <a:gd name="T4" fmla="*/ 197 w 207"/>
                <a:gd name="T5" fmla="*/ 161 h 190"/>
                <a:gd name="T6" fmla="*/ 207 w 207"/>
                <a:gd name="T7" fmla="*/ 71 h 190"/>
                <a:gd name="T8" fmla="*/ 22 w 207"/>
                <a:gd name="T9" fmla="*/ 0 h 190"/>
              </a:gdLst>
              <a:ahLst/>
              <a:cxnLst>
                <a:cxn ang="0">
                  <a:pos x="T0" y="T1"/>
                </a:cxn>
                <a:cxn ang="0">
                  <a:pos x="T2" y="T3"/>
                </a:cxn>
                <a:cxn ang="0">
                  <a:pos x="T4" y="T5"/>
                </a:cxn>
                <a:cxn ang="0">
                  <a:pos x="T6" y="T7"/>
                </a:cxn>
                <a:cxn ang="0">
                  <a:pos x="T8" y="T9"/>
                </a:cxn>
              </a:cxnLst>
              <a:rect l="0" t="0" r="r" b="b"/>
              <a:pathLst>
                <a:path w="207" h="190">
                  <a:moveTo>
                    <a:pt x="22" y="0"/>
                  </a:moveTo>
                  <a:lnTo>
                    <a:pt x="0" y="190"/>
                  </a:lnTo>
                  <a:lnTo>
                    <a:pt x="197" y="161"/>
                  </a:lnTo>
                  <a:lnTo>
                    <a:pt x="207" y="71"/>
                  </a:lnTo>
                  <a:lnTo>
                    <a:pt x="22"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8" name="îṡlíḍe"/>
            <p:cNvSpPr/>
            <p:nvPr/>
          </p:nvSpPr>
          <p:spPr bwMode="auto">
            <a:xfrm>
              <a:off x="5005445" y="1776909"/>
              <a:ext cx="215500" cy="234782"/>
            </a:xfrm>
            <a:custGeom>
              <a:avLst/>
              <a:gdLst>
                <a:gd name="T0" fmla="*/ 190 w 190"/>
                <a:gd name="T1" fmla="*/ 207 h 207"/>
                <a:gd name="T2" fmla="*/ 0 w 190"/>
                <a:gd name="T3" fmla="*/ 186 h 207"/>
                <a:gd name="T4" fmla="*/ 71 w 190"/>
                <a:gd name="T5" fmla="*/ 0 h 207"/>
                <a:gd name="T6" fmla="*/ 161 w 190"/>
                <a:gd name="T7" fmla="*/ 10 h 207"/>
                <a:gd name="T8" fmla="*/ 190 w 190"/>
                <a:gd name="T9" fmla="*/ 207 h 207"/>
              </a:gdLst>
              <a:ahLst/>
              <a:cxnLst>
                <a:cxn ang="0">
                  <a:pos x="T0" y="T1"/>
                </a:cxn>
                <a:cxn ang="0">
                  <a:pos x="T2" y="T3"/>
                </a:cxn>
                <a:cxn ang="0">
                  <a:pos x="T4" y="T5"/>
                </a:cxn>
                <a:cxn ang="0">
                  <a:pos x="T6" y="T7"/>
                </a:cxn>
                <a:cxn ang="0">
                  <a:pos x="T8" y="T9"/>
                </a:cxn>
              </a:cxnLst>
              <a:rect l="0" t="0" r="r" b="b"/>
              <a:pathLst>
                <a:path w="190" h="207">
                  <a:moveTo>
                    <a:pt x="190" y="207"/>
                  </a:moveTo>
                  <a:lnTo>
                    <a:pt x="0" y="186"/>
                  </a:lnTo>
                  <a:lnTo>
                    <a:pt x="71" y="0"/>
                  </a:lnTo>
                  <a:lnTo>
                    <a:pt x="161" y="10"/>
                  </a:lnTo>
                  <a:lnTo>
                    <a:pt x="190" y="20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9" name="íŝḻidè"/>
            <p:cNvSpPr/>
            <p:nvPr/>
          </p:nvSpPr>
          <p:spPr bwMode="auto">
            <a:xfrm>
              <a:off x="5402418" y="4165558"/>
              <a:ext cx="821169" cy="818902"/>
            </a:xfrm>
            <a:custGeom>
              <a:avLst/>
              <a:gdLst>
                <a:gd name="T0" fmla="*/ 20 w 928"/>
                <a:gd name="T1" fmla="*/ 499 h 927"/>
                <a:gd name="T2" fmla="*/ 500 w 928"/>
                <a:gd name="T3" fmla="*/ 907 h 927"/>
                <a:gd name="T4" fmla="*/ 908 w 928"/>
                <a:gd name="T5" fmla="*/ 427 h 927"/>
                <a:gd name="T6" fmla="*/ 428 w 928"/>
                <a:gd name="T7" fmla="*/ 19 h 927"/>
                <a:gd name="T8" fmla="*/ 20 w 928"/>
                <a:gd name="T9" fmla="*/ 499 h 927"/>
              </a:gdLst>
              <a:ahLst/>
              <a:cxnLst>
                <a:cxn ang="0">
                  <a:pos x="T0" y="T1"/>
                </a:cxn>
                <a:cxn ang="0">
                  <a:pos x="T2" y="T3"/>
                </a:cxn>
                <a:cxn ang="0">
                  <a:pos x="T4" y="T5"/>
                </a:cxn>
                <a:cxn ang="0">
                  <a:pos x="T6" y="T7"/>
                </a:cxn>
                <a:cxn ang="0">
                  <a:pos x="T8" y="T9"/>
                </a:cxn>
              </a:cxnLst>
              <a:rect l="0" t="0" r="r" b="b"/>
              <a:pathLst>
                <a:path w="928" h="927">
                  <a:moveTo>
                    <a:pt x="20" y="499"/>
                  </a:moveTo>
                  <a:cubicBezTo>
                    <a:pt x="40" y="745"/>
                    <a:pt x="254" y="927"/>
                    <a:pt x="500" y="907"/>
                  </a:cubicBezTo>
                  <a:cubicBezTo>
                    <a:pt x="745" y="888"/>
                    <a:pt x="928" y="673"/>
                    <a:pt x="908" y="427"/>
                  </a:cubicBezTo>
                  <a:cubicBezTo>
                    <a:pt x="888" y="182"/>
                    <a:pt x="673" y="0"/>
                    <a:pt x="428" y="19"/>
                  </a:cubicBezTo>
                  <a:cubicBezTo>
                    <a:pt x="183" y="39"/>
                    <a:pt x="0" y="254"/>
                    <a:pt x="20" y="499"/>
                  </a:cubicBezTo>
                  <a:close/>
                </a:path>
              </a:pathLst>
            </a:custGeom>
            <a:solidFill>
              <a:schemeClr val="bg1">
                <a:lumMod val="8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60" name="ïśḷidè"/>
            <p:cNvSpPr/>
            <p:nvPr/>
          </p:nvSpPr>
          <p:spPr bwMode="auto">
            <a:xfrm>
              <a:off x="5524914" y="4288054"/>
              <a:ext cx="575045" cy="575046"/>
            </a:xfrm>
            <a:custGeom>
              <a:avLst/>
              <a:gdLst>
                <a:gd name="T0" fmla="*/ 13 w 650"/>
                <a:gd name="T1" fmla="*/ 351 h 651"/>
                <a:gd name="T2" fmla="*/ 350 w 650"/>
                <a:gd name="T3" fmla="*/ 637 h 651"/>
                <a:gd name="T4" fmla="*/ 636 w 650"/>
                <a:gd name="T5" fmla="*/ 300 h 651"/>
                <a:gd name="T6" fmla="*/ 300 w 650"/>
                <a:gd name="T7" fmla="*/ 14 h 651"/>
                <a:gd name="T8" fmla="*/ 13 w 650"/>
                <a:gd name="T9" fmla="*/ 351 h 651"/>
              </a:gdLst>
              <a:ahLst/>
              <a:cxnLst>
                <a:cxn ang="0">
                  <a:pos x="T0" y="T1"/>
                </a:cxn>
                <a:cxn ang="0">
                  <a:pos x="T2" y="T3"/>
                </a:cxn>
                <a:cxn ang="0">
                  <a:pos x="T4" y="T5"/>
                </a:cxn>
                <a:cxn ang="0">
                  <a:pos x="T6" y="T7"/>
                </a:cxn>
                <a:cxn ang="0">
                  <a:pos x="T8" y="T9"/>
                </a:cxn>
              </a:cxnLst>
              <a:rect l="0" t="0" r="r" b="b"/>
              <a:pathLst>
                <a:path w="650" h="651">
                  <a:moveTo>
                    <a:pt x="13" y="351"/>
                  </a:moveTo>
                  <a:cubicBezTo>
                    <a:pt x="27" y="522"/>
                    <a:pt x="178" y="651"/>
                    <a:pt x="350" y="637"/>
                  </a:cubicBezTo>
                  <a:cubicBezTo>
                    <a:pt x="522" y="623"/>
                    <a:pt x="650" y="472"/>
                    <a:pt x="636" y="300"/>
                  </a:cubicBezTo>
                  <a:cubicBezTo>
                    <a:pt x="622" y="128"/>
                    <a:pt x="471" y="0"/>
                    <a:pt x="300" y="14"/>
                  </a:cubicBezTo>
                  <a:cubicBezTo>
                    <a:pt x="128" y="28"/>
                    <a:pt x="0" y="179"/>
                    <a:pt x="13" y="351"/>
                  </a:cubicBezTo>
                  <a:close/>
                </a:path>
              </a:pathLst>
            </a:custGeom>
            <a:solidFill>
              <a:schemeClr val="bg1"/>
            </a:solidFill>
            <a:ln>
              <a:noFill/>
            </a:ln>
          </p:spPr>
          <p:txBody>
            <a:bodyPr vert="horz" wrap="square" lIns="91440" tIns="45720" rIns="91440" bIns="45720" numCol="1" anchor="t" anchorCtr="0" compatLnSpc="1">
              <a:normAutofit fontScale="92500" lnSpcReduction="10000"/>
            </a:bodyPr>
            <a:lstStyle/>
            <a:p>
              <a:endParaRPr lang="en-US" sz="3600">
                <a:cs typeface="+mn-ea"/>
                <a:sym typeface="+mn-lt"/>
              </a:endParaRPr>
            </a:p>
          </p:txBody>
        </p:sp>
        <p:sp>
          <p:nvSpPr>
            <p:cNvPr id="161" name="íṡļíḓè"/>
            <p:cNvSpPr/>
            <p:nvPr/>
          </p:nvSpPr>
          <p:spPr bwMode="auto">
            <a:xfrm>
              <a:off x="5632662" y="4073688"/>
              <a:ext cx="193949" cy="217769"/>
            </a:xfrm>
            <a:custGeom>
              <a:avLst/>
              <a:gdLst>
                <a:gd name="T0" fmla="*/ 0 w 171"/>
                <a:gd name="T1" fmla="*/ 192 h 192"/>
                <a:gd name="T2" fmla="*/ 171 w 171"/>
                <a:gd name="T3" fmla="*/ 147 h 192"/>
                <a:gd name="T4" fmla="*/ 84 w 171"/>
                <a:gd name="T5" fmla="*/ 0 h 192"/>
                <a:gd name="T6" fmla="*/ 2 w 171"/>
                <a:gd name="T7" fmla="*/ 22 h 192"/>
                <a:gd name="T8" fmla="*/ 0 w 171"/>
                <a:gd name="T9" fmla="*/ 192 h 192"/>
              </a:gdLst>
              <a:ahLst/>
              <a:cxnLst>
                <a:cxn ang="0">
                  <a:pos x="T0" y="T1"/>
                </a:cxn>
                <a:cxn ang="0">
                  <a:pos x="T2" y="T3"/>
                </a:cxn>
                <a:cxn ang="0">
                  <a:pos x="T4" y="T5"/>
                </a:cxn>
                <a:cxn ang="0">
                  <a:pos x="T6" y="T7"/>
                </a:cxn>
                <a:cxn ang="0">
                  <a:pos x="T8" y="T9"/>
                </a:cxn>
              </a:cxnLst>
              <a:rect l="0" t="0" r="r" b="b"/>
              <a:pathLst>
                <a:path w="171" h="192">
                  <a:moveTo>
                    <a:pt x="0" y="192"/>
                  </a:moveTo>
                  <a:lnTo>
                    <a:pt x="171" y="147"/>
                  </a:lnTo>
                  <a:lnTo>
                    <a:pt x="84" y="0"/>
                  </a:lnTo>
                  <a:lnTo>
                    <a:pt x="2" y="22"/>
                  </a:lnTo>
                  <a:lnTo>
                    <a:pt x="0" y="192"/>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2" name="îsḻïďê"/>
            <p:cNvSpPr/>
            <p:nvPr/>
          </p:nvSpPr>
          <p:spPr bwMode="auto">
            <a:xfrm>
              <a:off x="5310547" y="4561399"/>
              <a:ext cx="217768" cy="192816"/>
            </a:xfrm>
            <a:custGeom>
              <a:avLst/>
              <a:gdLst>
                <a:gd name="T0" fmla="*/ 146 w 192"/>
                <a:gd name="T1" fmla="*/ 0 h 170"/>
                <a:gd name="T2" fmla="*/ 192 w 192"/>
                <a:gd name="T3" fmla="*/ 170 h 170"/>
                <a:gd name="T4" fmla="*/ 22 w 192"/>
                <a:gd name="T5" fmla="*/ 168 h 170"/>
                <a:gd name="T6" fmla="*/ 0 w 192"/>
                <a:gd name="T7" fmla="*/ 87 h 170"/>
                <a:gd name="T8" fmla="*/ 146 w 192"/>
                <a:gd name="T9" fmla="*/ 0 h 170"/>
              </a:gdLst>
              <a:ahLst/>
              <a:cxnLst>
                <a:cxn ang="0">
                  <a:pos x="T0" y="T1"/>
                </a:cxn>
                <a:cxn ang="0">
                  <a:pos x="T2" y="T3"/>
                </a:cxn>
                <a:cxn ang="0">
                  <a:pos x="T4" y="T5"/>
                </a:cxn>
                <a:cxn ang="0">
                  <a:pos x="T6" y="T7"/>
                </a:cxn>
                <a:cxn ang="0">
                  <a:pos x="T8" y="T9"/>
                </a:cxn>
              </a:cxnLst>
              <a:rect l="0" t="0" r="r" b="b"/>
              <a:pathLst>
                <a:path w="192" h="170">
                  <a:moveTo>
                    <a:pt x="146" y="0"/>
                  </a:moveTo>
                  <a:lnTo>
                    <a:pt x="192" y="170"/>
                  </a:lnTo>
                  <a:lnTo>
                    <a:pt x="22" y="168"/>
                  </a:lnTo>
                  <a:lnTo>
                    <a:pt x="0" y="87"/>
                  </a:lnTo>
                  <a:lnTo>
                    <a:pt x="146"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3" name="î$lîḓé"/>
            <p:cNvSpPr/>
            <p:nvPr/>
          </p:nvSpPr>
          <p:spPr bwMode="auto">
            <a:xfrm>
              <a:off x="5798258" y="4858562"/>
              <a:ext cx="193949" cy="216635"/>
            </a:xfrm>
            <a:custGeom>
              <a:avLst/>
              <a:gdLst>
                <a:gd name="T0" fmla="*/ 171 w 171"/>
                <a:gd name="T1" fmla="*/ 0 h 191"/>
                <a:gd name="T2" fmla="*/ 0 w 171"/>
                <a:gd name="T3" fmla="*/ 45 h 191"/>
                <a:gd name="T4" fmla="*/ 88 w 171"/>
                <a:gd name="T5" fmla="*/ 191 h 191"/>
                <a:gd name="T6" fmla="*/ 169 w 171"/>
                <a:gd name="T7" fmla="*/ 170 h 191"/>
                <a:gd name="T8" fmla="*/ 171 w 171"/>
                <a:gd name="T9" fmla="*/ 0 h 191"/>
              </a:gdLst>
              <a:ahLst/>
              <a:cxnLst>
                <a:cxn ang="0">
                  <a:pos x="T0" y="T1"/>
                </a:cxn>
                <a:cxn ang="0">
                  <a:pos x="T2" y="T3"/>
                </a:cxn>
                <a:cxn ang="0">
                  <a:pos x="T4" y="T5"/>
                </a:cxn>
                <a:cxn ang="0">
                  <a:pos x="T6" y="T7"/>
                </a:cxn>
                <a:cxn ang="0">
                  <a:pos x="T8" y="T9"/>
                </a:cxn>
              </a:cxnLst>
              <a:rect l="0" t="0" r="r" b="b"/>
              <a:pathLst>
                <a:path w="171" h="191">
                  <a:moveTo>
                    <a:pt x="171" y="0"/>
                  </a:moveTo>
                  <a:lnTo>
                    <a:pt x="0" y="45"/>
                  </a:lnTo>
                  <a:lnTo>
                    <a:pt x="88" y="191"/>
                  </a:lnTo>
                  <a:lnTo>
                    <a:pt x="169" y="170"/>
                  </a:lnTo>
                  <a:lnTo>
                    <a:pt x="171"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4" name="îṡļiḑe"/>
            <p:cNvSpPr/>
            <p:nvPr/>
          </p:nvSpPr>
          <p:spPr bwMode="auto">
            <a:xfrm>
              <a:off x="6096554" y="4396937"/>
              <a:ext cx="217768" cy="191683"/>
            </a:xfrm>
            <a:custGeom>
              <a:avLst/>
              <a:gdLst>
                <a:gd name="T0" fmla="*/ 45 w 192"/>
                <a:gd name="T1" fmla="*/ 169 h 169"/>
                <a:gd name="T2" fmla="*/ 0 w 192"/>
                <a:gd name="T3" fmla="*/ 0 h 169"/>
                <a:gd name="T4" fmla="*/ 170 w 192"/>
                <a:gd name="T5" fmla="*/ 1 h 169"/>
                <a:gd name="T6" fmla="*/ 192 w 192"/>
                <a:gd name="T7" fmla="*/ 83 h 169"/>
                <a:gd name="T8" fmla="*/ 45 w 192"/>
                <a:gd name="T9" fmla="*/ 169 h 169"/>
              </a:gdLst>
              <a:ahLst/>
              <a:cxnLst>
                <a:cxn ang="0">
                  <a:pos x="T0" y="T1"/>
                </a:cxn>
                <a:cxn ang="0">
                  <a:pos x="T2" y="T3"/>
                </a:cxn>
                <a:cxn ang="0">
                  <a:pos x="T4" y="T5"/>
                </a:cxn>
                <a:cxn ang="0">
                  <a:pos x="T6" y="T7"/>
                </a:cxn>
                <a:cxn ang="0">
                  <a:pos x="T8" y="T9"/>
                </a:cxn>
              </a:cxnLst>
              <a:rect l="0" t="0" r="r" b="b"/>
              <a:pathLst>
                <a:path w="192" h="169">
                  <a:moveTo>
                    <a:pt x="45" y="169"/>
                  </a:moveTo>
                  <a:lnTo>
                    <a:pt x="0" y="0"/>
                  </a:lnTo>
                  <a:lnTo>
                    <a:pt x="170" y="1"/>
                  </a:lnTo>
                  <a:lnTo>
                    <a:pt x="192" y="83"/>
                  </a:lnTo>
                  <a:lnTo>
                    <a:pt x="45" y="169"/>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5" name="iṣliḓê"/>
            <p:cNvSpPr/>
            <p:nvPr/>
          </p:nvSpPr>
          <p:spPr bwMode="auto">
            <a:xfrm>
              <a:off x="5350244" y="4280115"/>
              <a:ext cx="234782" cy="221172"/>
            </a:xfrm>
            <a:custGeom>
              <a:avLst/>
              <a:gdLst>
                <a:gd name="T0" fmla="*/ 118 w 207"/>
                <a:gd name="T1" fmla="*/ 195 h 195"/>
                <a:gd name="T2" fmla="*/ 207 w 207"/>
                <a:gd name="T3" fmla="*/ 43 h 195"/>
                <a:gd name="T4" fmla="*/ 42 w 207"/>
                <a:gd name="T5" fmla="*/ 0 h 195"/>
                <a:gd name="T6" fmla="*/ 0 w 207"/>
                <a:gd name="T7" fmla="*/ 73 h 195"/>
                <a:gd name="T8" fmla="*/ 118 w 207"/>
                <a:gd name="T9" fmla="*/ 195 h 195"/>
              </a:gdLst>
              <a:ahLst/>
              <a:cxnLst>
                <a:cxn ang="0">
                  <a:pos x="T0" y="T1"/>
                </a:cxn>
                <a:cxn ang="0">
                  <a:pos x="T2" y="T3"/>
                </a:cxn>
                <a:cxn ang="0">
                  <a:pos x="T4" y="T5"/>
                </a:cxn>
                <a:cxn ang="0">
                  <a:pos x="T6" y="T7"/>
                </a:cxn>
                <a:cxn ang="0">
                  <a:pos x="T8" y="T9"/>
                </a:cxn>
              </a:cxnLst>
              <a:rect l="0" t="0" r="r" b="b"/>
              <a:pathLst>
                <a:path w="207" h="195">
                  <a:moveTo>
                    <a:pt x="118" y="195"/>
                  </a:moveTo>
                  <a:lnTo>
                    <a:pt x="207" y="43"/>
                  </a:lnTo>
                  <a:lnTo>
                    <a:pt x="42" y="0"/>
                  </a:lnTo>
                  <a:lnTo>
                    <a:pt x="0" y="73"/>
                  </a:lnTo>
                  <a:lnTo>
                    <a:pt x="118" y="195"/>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6" name="íŝľíďé"/>
            <p:cNvSpPr/>
            <p:nvPr/>
          </p:nvSpPr>
          <p:spPr bwMode="auto">
            <a:xfrm>
              <a:off x="5516974" y="4801853"/>
              <a:ext cx="221170" cy="234782"/>
            </a:xfrm>
            <a:custGeom>
              <a:avLst/>
              <a:gdLst>
                <a:gd name="T0" fmla="*/ 42 w 195"/>
                <a:gd name="T1" fmla="*/ 0 h 207"/>
                <a:gd name="T2" fmla="*/ 195 w 195"/>
                <a:gd name="T3" fmla="*/ 89 h 207"/>
                <a:gd name="T4" fmla="*/ 74 w 195"/>
                <a:gd name="T5" fmla="*/ 207 h 207"/>
                <a:gd name="T6" fmla="*/ 0 w 195"/>
                <a:gd name="T7" fmla="*/ 165 h 207"/>
                <a:gd name="T8" fmla="*/ 42 w 195"/>
                <a:gd name="T9" fmla="*/ 0 h 207"/>
              </a:gdLst>
              <a:ahLst/>
              <a:cxnLst>
                <a:cxn ang="0">
                  <a:pos x="T0" y="T1"/>
                </a:cxn>
                <a:cxn ang="0">
                  <a:pos x="T2" y="T3"/>
                </a:cxn>
                <a:cxn ang="0">
                  <a:pos x="T4" y="T5"/>
                </a:cxn>
                <a:cxn ang="0">
                  <a:pos x="T6" y="T7"/>
                </a:cxn>
                <a:cxn ang="0">
                  <a:pos x="T8" y="T9"/>
                </a:cxn>
              </a:cxnLst>
              <a:rect l="0" t="0" r="r" b="b"/>
              <a:pathLst>
                <a:path w="195" h="207">
                  <a:moveTo>
                    <a:pt x="42" y="0"/>
                  </a:moveTo>
                  <a:lnTo>
                    <a:pt x="195" y="89"/>
                  </a:lnTo>
                  <a:lnTo>
                    <a:pt x="74" y="207"/>
                  </a:lnTo>
                  <a:lnTo>
                    <a:pt x="0" y="165"/>
                  </a:lnTo>
                  <a:lnTo>
                    <a:pt x="42"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7" name="iṡļïḑè"/>
            <p:cNvSpPr/>
            <p:nvPr/>
          </p:nvSpPr>
          <p:spPr bwMode="auto">
            <a:xfrm>
              <a:off x="6039845" y="4647599"/>
              <a:ext cx="234782" cy="221172"/>
            </a:xfrm>
            <a:custGeom>
              <a:avLst/>
              <a:gdLst>
                <a:gd name="T0" fmla="*/ 88 w 207"/>
                <a:gd name="T1" fmla="*/ 0 h 195"/>
                <a:gd name="T2" fmla="*/ 0 w 207"/>
                <a:gd name="T3" fmla="*/ 153 h 195"/>
                <a:gd name="T4" fmla="*/ 165 w 207"/>
                <a:gd name="T5" fmla="*/ 195 h 195"/>
                <a:gd name="T6" fmla="*/ 207 w 207"/>
                <a:gd name="T7" fmla="*/ 123 h 195"/>
                <a:gd name="T8" fmla="*/ 88 w 207"/>
                <a:gd name="T9" fmla="*/ 0 h 195"/>
              </a:gdLst>
              <a:ahLst/>
              <a:cxnLst>
                <a:cxn ang="0">
                  <a:pos x="T0" y="T1"/>
                </a:cxn>
                <a:cxn ang="0">
                  <a:pos x="T2" y="T3"/>
                </a:cxn>
                <a:cxn ang="0">
                  <a:pos x="T4" y="T5"/>
                </a:cxn>
                <a:cxn ang="0">
                  <a:pos x="T6" y="T7"/>
                </a:cxn>
                <a:cxn ang="0">
                  <a:pos x="T8" y="T9"/>
                </a:cxn>
              </a:cxnLst>
              <a:rect l="0" t="0" r="r" b="b"/>
              <a:pathLst>
                <a:path w="207" h="195">
                  <a:moveTo>
                    <a:pt x="88" y="0"/>
                  </a:moveTo>
                  <a:lnTo>
                    <a:pt x="0" y="153"/>
                  </a:lnTo>
                  <a:lnTo>
                    <a:pt x="165" y="195"/>
                  </a:lnTo>
                  <a:lnTo>
                    <a:pt x="207" y="123"/>
                  </a:lnTo>
                  <a:lnTo>
                    <a:pt x="88"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8" name="iṩḻïḑê"/>
            <p:cNvSpPr/>
            <p:nvPr/>
          </p:nvSpPr>
          <p:spPr bwMode="auto">
            <a:xfrm>
              <a:off x="5886726" y="4113385"/>
              <a:ext cx="221170" cy="234782"/>
            </a:xfrm>
            <a:custGeom>
              <a:avLst/>
              <a:gdLst>
                <a:gd name="T0" fmla="*/ 152 w 195"/>
                <a:gd name="T1" fmla="*/ 207 h 207"/>
                <a:gd name="T2" fmla="*/ 0 w 195"/>
                <a:gd name="T3" fmla="*/ 119 h 207"/>
                <a:gd name="T4" fmla="*/ 122 w 195"/>
                <a:gd name="T5" fmla="*/ 0 h 207"/>
                <a:gd name="T6" fmla="*/ 195 w 195"/>
                <a:gd name="T7" fmla="*/ 42 h 207"/>
                <a:gd name="T8" fmla="*/ 152 w 195"/>
                <a:gd name="T9" fmla="*/ 207 h 207"/>
              </a:gdLst>
              <a:ahLst/>
              <a:cxnLst>
                <a:cxn ang="0">
                  <a:pos x="T0" y="T1"/>
                </a:cxn>
                <a:cxn ang="0">
                  <a:pos x="T2" y="T3"/>
                </a:cxn>
                <a:cxn ang="0">
                  <a:pos x="T4" y="T5"/>
                </a:cxn>
                <a:cxn ang="0">
                  <a:pos x="T6" y="T7"/>
                </a:cxn>
                <a:cxn ang="0">
                  <a:pos x="T8" y="T9"/>
                </a:cxn>
              </a:cxnLst>
              <a:rect l="0" t="0" r="r" b="b"/>
              <a:pathLst>
                <a:path w="195" h="207">
                  <a:moveTo>
                    <a:pt x="152" y="207"/>
                  </a:moveTo>
                  <a:lnTo>
                    <a:pt x="0" y="119"/>
                  </a:lnTo>
                  <a:lnTo>
                    <a:pt x="122" y="0"/>
                  </a:lnTo>
                  <a:lnTo>
                    <a:pt x="195" y="42"/>
                  </a:lnTo>
                  <a:lnTo>
                    <a:pt x="152" y="207"/>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9" name="iśļiḍé"/>
            <p:cNvSpPr/>
            <p:nvPr/>
          </p:nvSpPr>
          <p:spPr bwMode="auto">
            <a:xfrm>
              <a:off x="6003550" y="4886917"/>
              <a:ext cx="551226" cy="548959"/>
            </a:xfrm>
            <a:custGeom>
              <a:avLst/>
              <a:gdLst>
                <a:gd name="T0" fmla="*/ 242 w 622"/>
                <a:gd name="T1" fmla="*/ 584 h 622"/>
                <a:gd name="T2" fmla="*/ 584 w 622"/>
                <a:gd name="T3" fmla="*/ 379 h 622"/>
                <a:gd name="T4" fmla="*/ 380 w 622"/>
                <a:gd name="T5" fmla="*/ 38 h 622"/>
                <a:gd name="T6" fmla="*/ 38 w 622"/>
                <a:gd name="T7" fmla="*/ 242 h 622"/>
                <a:gd name="T8" fmla="*/ 242 w 622"/>
                <a:gd name="T9" fmla="*/ 584 h 622"/>
              </a:gdLst>
              <a:ahLst/>
              <a:cxnLst>
                <a:cxn ang="0">
                  <a:pos x="T0" y="T1"/>
                </a:cxn>
                <a:cxn ang="0">
                  <a:pos x="T2" y="T3"/>
                </a:cxn>
                <a:cxn ang="0">
                  <a:pos x="T4" y="T5"/>
                </a:cxn>
                <a:cxn ang="0">
                  <a:pos x="T6" y="T7"/>
                </a:cxn>
                <a:cxn ang="0">
                  <a:pos x="T8" y="T9"/>
                </a:cxn>
              </a:cxnLst>
              <a:rect l="0" t="0" r="r" b="b"/>
              <a:pathLst>
                <a:path w="622" h="622">
                  <a:moveTo>
                    <a:pt x="242" y="584"/>
                  </a:moveTo>
                  <a:cubicBezTo>
                    <a:pt x="393" y="622"/>
                    <a:pt x="546" y="530"/>
                    <a:pt x="584" y="379"/>
                  </a:cubicBezTo>
                  <a:cubicBezTo>
                    <a:pt x="622" y="229"/>
                    <a:pt x="530" y="76"/>
                    <a:pt x="380" y="38"/>
                  </a:cubicBezTo>
                  <a:cubicBezTo>
                    <a:pt x="229" y="0"/>
                    <a:pt x="76" y="91"/>
                    <a:pt x="38" y="242"/>
                  </a:cubicBezTo>
                  <a:cubicBezTo>
                    <a:pt x="0" y="393"/>
                    <a:pt x="91" y="546"/>
                    <a:pt x="242" y="584"/>
                  </a:cubicBezTo>
                  <a:close/>
                </a:path>
              </a:pathLst>
            </a:custGeom>
            <a:solidFill>
              <a:schemeClr val="bg1"/>
            </a:solidFill>
            <a:ln>
              <a:noFill/>
            </a:ln>
          </p:spPr>
          <p:txBody>
            <a:bodyPr vert="horz" wrap="square" lIns="91440" tIns="45720" rIns="91440" bIns="45720" numCol="1" anchor="t" anchorCtr="0" compatLnSpc="1">
              <a:normAutofit fontScale="92500" lnSpcReduction="10000"/>
            </a:bodyPr>
            <a:lstStyle/>
            <a:p>
              <a:endParaRPr lang="en-US" sz="3600">
                <a:cs typeface="+mn-ea"/>
                <a:sym typeface="+mn-lt"/>
              </a:endParaRPr>
            </a:p>
          </p:txBody>
        </p:sp>
        <p:sp>
          <p:nvSpPr>
            <p:cNvPr id="170" name="ïśḷîḋe"/>
            <p:cNvSpPr/>
            <p:nvPr/>
          </p:nvSpPr>
          <p:spPr bwMode="auto">
            <a:xfrm>
              <a:off x="6144191" y="5038903"/>
              <a:ext cx="260869" cy="243857"/>
            </a:xfrm>
            <a:custGeom>
              <a:avLst/>
              <a:gdLst>
                <a:gd name="T0" fmla="*/ 153 w 296"/>
                <a:gd name="T1" fmla="*/ 276 h 276"/>
                <a:gd name="T2" fmla="*/ 153 w 296"/>
                <a:gd name="T3" fmla="*/ 276 h 276"/>
                <a:gd name="T4" fmla="*/ 119 w 296"/>
                <a:gd name="T5" fmla="*/ 273 h 276"/>
                <a:gd name="T6" fmla="*/ 18 w 296"/>
                <a:gd name="T7" fmla="*/ 105 h 276"/>
                <a:gd name="T8" fmla="*/ 153 w 296"/>
                <a:gd name="T9" fmla="*/ 0 h 276"/>
                <a:gd name="T10" fmla="*/ 187 w 296"/>
                <a:gd name="T11" fmla="*/ 4 h 276"/>
                <a:gd name="T12" fmla="*/ 272 w 296"/>
                <a:gd name="T13" fmla="*/ 68 h 276"/>
                <a:gd name="T14" fmla="*/ 287 w 296"/>
                <a:gd name="T15" fmla="*/ 172 h 276"/>
                <a:gd name="T16" fmla="*/ 153 w 296"/>
                <a:gd name="T17" fmla="*/ 276 h 276"/>
                <a:gd name="T18" fmla="*/ 153 w 296"/>
                <a:gd name="T19" fmla="*/ 44 h 276"/>
                <a:gd name="T20" fmla="*/ 61 w 296"/>
                <a:gd name="T21" fmla="*/ 116 h 276"/>
                <a:gd name="T22" fmla="*/ 130 w 296"/>
                <a:gd name="T23" fmla="*/ 230 h 276"/>
                <a:gd name="T24" fmla="*/ 153 w 296"/>
                <a:gd name="T25" fmla="*/ 232 h 276"/>
                <a:gd name="T26" fmla="*/ 153 w 296"/>
                <a:gd name="T27" fmla="*/ 232 h 276"/>
                <a:gd name="T28" fmla="*/ 245 w 296"/>
                <a:gd name="T29" fmla="*/ 161 h 276"/>
                <a:gd name="T30" fmla="*/ 234 w 296"/>
                <a:gd name="T31" fmla="*/ 90 h 276"/>
                <a:gd name="T32" fmla="*/ 176 w 296"/>
                <a:gd name="T33" fmla="*/ 47 h 276"/>
                <a:gd name="T34" fmla="*/ 153 w 296"/>
                <a:gd name="T35" fmla="*/ 4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276">
                  <a:moveTo>
                    <a:pt x="153" y="276"/>
                  </a:moveTo>
                  <a:cubicBezTo>
                    <a:pt x="153" y="276"/>
                    <a:pt x="153" y="276"/>
                    <a:pt x="153" y="276"/>
                  </a:cubicBezTo>
                  <a:cubicBezTo>
                    <a:pt x="142" y="276"/>
                    <a:pt x="130" y="275"/>
                    <a:pt x="119" y="273"/>
                  </a:cubicBezTo>
                  <a:cubicBezTo>
                    <a:pt x="45" y="254"/>
                    <a:pt x="0" y="179"/>
                    <a:pt x="18" y="105"/>
                  </a:cubicBezTo>
                  <a:cubicBezTo>
                    <a:pt x="34" y="43"/>
                    <a:pt x="89" y="0"/>
                    <a:pt x="153" y="0"/>
                  </a:cubicBezTo>
                  <a:cubicBezTo>
                    <a:pt x="164" y="0"/>
                    <a:pt x="176" y="2"/>
                    <a:pt x="187" y="4"/>
                  </a:cubicBezTo>
                  <a:cubicBezTo>
                    <a:pt x="223" y="13"/>
                    <a:pt x="253" y="36"/>
                    <a:pt x="272" y="68"/>
                  </a:cubicBezTo>
                  <a:cubicBezTo>
                    <a:pt x="291" y="99"/>
                    <a:pt x="296" y="136"/>
                    <a:pt x="287" y="172"/>
                  </a:cubicBezTo>
                  <a:cubicBezTo>
                    <a:pt x="272" y="234"/>
                    <a:pt x="217" y="276"/>
                    <a:pt x="153" y="276"/>
                  </a:cubicBezTo>
                  <a:close/>
                  <a:moveTo>
                    <a:pt x="153" y="44"/>
                  </a:moveTo>
                  <a:cubicBezTo>
                    <a:pt x="109" y="44"/>
                    <a:pt x="72" y="74"/>
                    <a:pt x="61" y="116"/>
                  </a:cubicBezTo>
                  <a:cubicBezTo>
                    <a:pt x="49" y="166"/>
                    <a:pt x="79" y="217"/>
                    <a:pt x="130" y="230"/>
                  </a:cubicBezTo>
                  <a:cubicBezTo>
                    <a:pt x="138" y="232"/>
                    <a:pt x="145" y="232"/>
                    <a:pt x="153" y="232"/>
                  </a:cubicBezTo>
                  <a:cubicBezTo>
                    <a:pt x="153" y="232"/>
                    <a:pt x="153" y="232"/>
                    <a:pt x="153" y="232"/>
                  </a:cubicBezTo>
                  <a:cubicBezTo>
                    <a:pt x="196" y="232"/>
                    <a:pt x="234" y="203"/>
                    <a:pt x="245" y="161"/>
                  </a:cubicBezTo>
                  <a:cubicBezTo>
                    <a:pt x="251" y="137"/>
                    <a:pt x="247" y="112"/>
                    <a:pt x="234" y="90"/>
                  </a:cubicBezTo>
                  <a:cubicBezTo>
                    <a:pt x="221" y="68"/>
                    <a:pt x="200" y="53"/>
                    <a:pt x="176" y="47"/>
                  </a:cubicBezTo>
                  <a:cubicBezTo>
                    <a:pt x="168" y="45"/>
                    <a:pt x="161" y="44"/>
                    <a:pt x="153" y="44"/>
                  </a:cubicBez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71" name="iṣľïḑe"/>
            <p:cNvSpPr/>
            <p:nvPr/>
          </p:nvSpPr>
          <p:spPr bwMode="auto">
            <a:xfrm>
              <a:off x="6459502" y="5096747"/>
              <a:ext cx="146313" cy="162193"/>
            </a:xfrm>
            <a:custGeom>
              <a:avLst/>
              <a:gdLst>
                <a:gd name="T0" fmla="*/ 13 w 129"/>
                <a:gd name="T1" fmla="*/ 0 h 143"/>
                <a:gd name="T2" fmla="*/ 0 w 129"/>
                <a:gd name="T3" fmla="*/ 143 h 143"/>
                <a:gd name="T4" fmla="*/ 123 w 129"/>
                <a:gd name="T5" fmla="*/ 116 h 143"/>
                <a:gd name="T6" fmla="*/ 129 w 129"/>
                <a:gd name="T7" fmla="*/ 48 h 143"/>
                <a:gd name="T8" fmla="*/ 13 w 129"/>
                <a:gd name="T9" fmla="*/ 0 h 143"/>
              </a:gdLst>
              <a:ahLst/>
              <a:cxnLst>
                <a:cxn ang="0">
                  <a:pos x="T0" y="T1"/>
                </a:cxn>
                <a:cxn ang="0">
                  <a:pos x="T2" y="T3"/>
                </a:cxn>
                <a:cxn ang="0">
                  <a:pos x="T4" y="T5"/>
                </a:cxn>
                <a:cxn ang="0">
                  <a:pos x="T6" y="T7"/>
                </a:cxn>
                <a:cxn ang="0">
                  <a:pos x="T8" y="T9"/>
                </a:cxn>
              </a:cxnLst>
              <a:rect l="0" t="0" r="r" b="b"/>
              <a:pathLst>
                <a:path w="129" h="143">
                  <a:moveTo>
                    <a:pt x="13" y="0"/>
                  </a:moveTo>
                  <a:lnTo>
                    <a:pt x="0" y="143"/>
                  </a:lnTo>
                  <a:lnTo>
                    <a:pt x="123" y="116"/>
                  </a:lnTo>
                  <a:lnTo>
                    <a:pt x="129" y="48"/>
                  </a:lnTo>
                  <a:lnTo>
                    <a:pt x="13" y="0"/>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nvGrpSpPr>
            <p:cNvPr id="172" name="íšḷíḍè"/>
            <p:cNvGrpSpPr/>
            <p:nvPr/>
          </p:nvGrpSpPr>
          <p:grpSpPr>
            <a:xfrm>
              <a:off x="5952509" y="4835869"/>
              <a:ext cx="598862" cy="652172"/>
              <a:chOff x="3007020" y="5300001"/>
              <a:chExt cx="535736" cy="583426"/>
            </a:xfrm>
            <a:solidFill>
              <a:schemeClr val="bg1">
                <a:lumMod val="95000"/>
              </a:schemeClr>
            </a:solidFill>
          </p:grpSpPr>
          <p:sp>
            <p:nvSpPr>
              <p:cNvPr id="209" name="îślîḓè"/>
              <p:cNvSpPr/>
              <p:nvPr/>
            </p:nvSpPr>
            <p:spPr bwMode="auto">
              <a:xfrm>
                <a:off x="3007020" y="5503946"/>
                <a:ext cx="129876" cy="145096"/>
              </a:xfrm>
              <a:custGeom>
                <a:avLst/>
                <a:gdLst>
                  <a:gd name="T0" fmla="*/ 115 w 128"/>
                  <a:gd name="T1" fmla="*/ 143 h 143"/>
                  <a:gd name="T2" fmla="*/ 128 w 128"/>
                  <a:gd name="T3" fmla="*/ 0 h 143"/>
                  <a:gd name="T4" fmla="*/ 6 w 128"/>
                  <a:gd name="T5" fmla="*/ 26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6"/>
                    </a:lnTo>
                    <a:lnTo>
                      <a:pt x="0" y="95"/>
                    </a:lnTo>
                    <a:lnTo>
                      <a:pt x="115" y="1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0" name="ïşḷiďe"/>
              <p:cNvSpPr/>
              <p:nvPr/>
            </p:nvSpPr>
            <p:spPr bwMode="auto">
              <a:xfrm>
                <a:off x="3210966" y="5753551"/>
                <a:ext cx="144081" cy="129876"/>
              </a:xfrm>
              <a:custGeom>
                <a:avLst/>
                <a:gdLst>
                  <a:gd name="T0" fmla="*/ 0 w 142"/>
                  <a:gd name="T1" fmla="*/ 0 h 128"/>
                  <a:gd name="T2" fmla="*/ 142 w 142"/>
                  <a:gd name="T3" fmla="*/ 13 h 128"/>
                  <a:gd name="T4" fmla="*/ 94 w 142"/>
                  <a:gd name="T5" fmla="*/ 128 h 128"/>
                  <a:gd name="T6" fmla="*/ 25 w 142"/>
                  <a:gd name="T7" fmla="*/ 121 h 128"/>
                  <a:gd name="T8" fmla="*/ 0 w 142"/>
                  <a:gd name="T9" fmla="*/ 0 h 128"/>
                </a:gdLst>
                <a:ahLst/>
                <a:cxnLst>
                  <a:cxn ang="0">
                    <a:pos x="T0" y="T1"/>
                  </a:cxn>
                  <a:cxn ang="0">
                    <a:pos x="T2" y="T3"/>
                  </a:cxn>
                  <a:cxn ang="0">
                    <a:pos x="T4" y="T5"/>
                  </a:cxn>
                  <a:cxn ang="0">
                    <a:pos x="T6" y="T7"/>
                  </a:cxn>
                  <a:cxn ang="0">
                    <a:pos x="T8" y="T9"/>
                  </a:cxn>
                </a:cxnLst>
                <a:rect l="0" t="0" r="r" b="b"/>
                <a:pathLst>
                  <a:path w="142" h="128">
                    <a:moveTo>
                      <a:pt x="0" y="0"/>
                    </a:moveTo>
                    <a:lnTo>
                      <a:pt x="142" y="13"/>
                    </a:lnTo>
                    <a:lnTo>
                      <a:pt x="94" y="128"/>
                    </a:lnTo>
                    <a:lnTo>
                      <a:pt x="25" y="12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1" name="iSḻídè"/>
              <p:cNvSpPr/>
              <p:nvPr/>
            </p:nvSpPr>
            <p:spPr bwMode="auto">
              <a:xfrm>
                <a:off x="3243435" y="5300001"/>
                <a:ext cx="144081" cy="130890"/>
              </a:xfrm>
              <a:custGeom>
                <a:avLst/>
                <a:gdLst>
                  <a:gd name="T0" fmla="*/ 142 w 142"/>
                  <a:gd name="T1" fmla="*/ 129 h 129"/>
                  <a:gd name="T2" fmla="*/ 0 w 142"/>
                  <a:gd name="T3" fmla="*/ 116 h 129"/>
                  <a:gd name="T4" fmla="*/ 48 w 142"/>
                  <a:gd name="T5" fmla="*/ 0 h 129"/>
                  <a:gd name="T6" fmla="*/ 116 w 142"/>
                  <a:gd name="T7" fmla="*/ 7 h 129"/>
                  <a:gd name="T8" fmla="*/ 142 w 142"/>
                  <a:gd name="T9" fmla="*/ 129 h 129"/>
                </a:gdLst>
                <a:ahLst/>
                <a:cxnLst>
                  <a:cxn ang="0">
                    <a:pos x="T0" y="T1"/>
                  </a:cxn>
                  <a:cxn ang="0">
                    <a:pos x="T2" y="T3"/>
                  </a:cxn>
                  <a:cxn ang="0">
                    <a:pos x="T4" y="T5"/>
                  </a:cxn>
                  <a:cxn ang="0">
                    <a:pos x="T6" y="T7"/>
                  </a:cxn>
                  <a:cxn ang="0">
                    <a:pos x="T8" y="T9"/>
                  </a:cxn>
                </a:cxnLst>
                <a:rect l="0" t="0" r="r" b="b"/>
                <a:pathLst>
                  <a:path w="142" h="129">
                    <a:moveTo>
                      <a:pt x="142" y="129"/>
                    </a:moveTo>
                    <a:lnTo>
                      <a:pt x="0" y="116"/>
                    </a:lnTo>
                    <a:lnTo>
                      <a:pt x="48" y="0"/>
                    </a:lnTo>
                    <a:lnTo>
                      <a:pt x="116" y="7"/>
                    </a:lnTo>
                    <a:lnTo>
                      <a:pt x="142" y="1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2" name="í$lîḍé"/>
              <p:cNvSpPr/>
              <p:nvPr/>
            </p:nvSpPr>
            <p:spPr bwMode="auto">
              <a:xfrm>
                <a:off x="3053694" y="5642954"/>
                <a:ext cx="161329" cy="160315"/>
              </a:xfrm>
              <a:custGeom>
                <a:avLst/>
                <a:gdLst>
                  <a:gd name="T0" fmla="*/ 159 w 159"/>
                  <a:gd name="T1" fmla="*/ 111 h 158"/>
                  <a:gd name="T2" fmla="*/ 67 w 159"/>
                  <a:gd name="T3" fmla="*/ 0 h 158"/>
                  <a:gd name="T4" fmla="*/ 0 w 159"/>
                  <a:gd name="T5" fmla="*/ 106 h 158"/>
                  <a:gd name="T6" fmla="*/ 44 w 159"/>
                  <a:gd name="T7" fmla="*/ 158 h 158"/>
                  <a:gd name="T8" fmla="*/ 159 w 159"/>
                  <a:gd name="T9" fmla="*/ 111 h 158"/>
                </a:gdLst>
                <a:ahLst/>
                <a:cxnLst>
                  <a:cxn ang="0">
                    <a:pos x="T0" y="T1"/>
                  </a:cxn>
                  <a:cxn ang="0">
                    <a:pos x="T2" y="T3"/>
                  </a:cxn>
                  <a:cxn ang="0">
                    <a:pos x="T4" y="T5"/>
                  </a:cxn>
                  <a:cxn ang="0">
                    <a:pos x="T6" y="T7"/>
                  </a:cxn>
                  <a:cxn ang="0">
                    <a:pos x="T8" y="T9"/>
                  </a:cxn>
                </a:cxnLst>
                <a:rect l="0" t="0" r="r" b="b"/>
                <a:pathLst>
                  <a:path w="159" h="158">
                    <a:moveTo>
                      <a:pt x="159" y="111"/>
                    </a:moveTo>
                    <a:lnTo>
                      <a:pt x="67" y="0"/>
                    </a:lnTo>
                    <a:lnTo>
                      <a:pt x="0" y="106"/>
                    </a:lnTo>
                    <a:lnTo>
                      <a:pt x="44" y="158"/>
                    </a:lnTo>
                    <a:lnTo>
                      <a:pt x="159" y="1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3" name="ïṩ1íḑê"/>
              <p:cNvSpPr/>
              <p:nvPr/>
            </p:nvSpPr>
            <p:spPr bwMode="auto">
              <a:xfrm>
                <a:off x="3350988" y="5675423"/>
                <a:ext cx="159300" cy="161330"/>
              </a:xfrm>
              <a:custGeom>
                <a:avLst/>
                <a:gdLst>
                  <a:gd name="T0" fmla="*/ 0 w 157"/>
                  <a:gd name="T1" fmla="*/ 91 h 159"/>
                  <a:gd name="T2" fmla="*/ 110 w 157"/>
                  <a:gd name="T3" fmla="*/ 0 h 159"/>
                  <a:gd name="T4" fmla="*/ 157 w 157"/>
                  <a:gd name="T5" fmla="*/ 116 h 159"/>
                  <a:gd name="T6" fmla="*/ 104 w 157"/>
                  <a:gd name="T7" fmla="*/ 159 h 159"/>
                  <a:gd name="T8" fmla="*/ 0 w 157"/>
                  <a:gd name="T9" fmla="*/ 91 h 159"/>
                </a:gdLst>
                <a:ahLst/>
                <a:cxnLst>
                  <a:cxn ang="0">
                    <a:pos x="T0" y="T1"/>
                  </a:cxn>
                  <a:cxn ang="0">
                    <a:pos x="T2" y="T3"/>
                  </a:cxn>
                  <a:cxn ang="0">
                    <a:pos x="T4" y="T5"/>
                  </a:cxn>
                  <a:cxn ang="0">
                    <a:pos x="T6" y="T7"/>
                  </a:cxn>
                  <a:cxn ang="0">
                    <a:pos x="T8" y="T9"/>
                  </a:cxn>
                </a:cxnLst>
                <a:rect l="0" t="0" r="r" b="b"/>
                <a:pathLst>
                  <a:path w="157" h="159">
                    <a:moveTo>
                      <a:pt x="0" y="91"/>
                    </a:moveTo>
                    <a:lnTo>
                      <a:pt x="110" y="0"/>
                    </a:lnTo>
                    <a:lnTo>
                      <a:pt x="157" y="116"/>
                    </a:lnTo>
                    <a:lnTo>
                      <a:pt x="104" y="159"/>
                    </a:lnTo>
                    <a:lnTo>
                      <a:pt x="0" y="9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4" name="ï$ḻîḍè"/>
              <p:cNvSpPr/>
              <p:nvPr/>
            </p:nvSpPr>
            <p:spPr bwMode="auto">
              <a:xfrm>
                <a:off x="3381427" y="5378129"/>
                <a:ext cx="161329" cy="161330"/>
              </a:xfrm>
              <a:custGeom>
                <a:avLst/>
                <a:gdLst>
                  <a:gd name="T0" fmla="*/ 0 w 159"/>
                  <a:gd name="T1" fmla="*/ 48 h 159"/>
                  <a:gd name="T2" fmla="*/ 92 w 159"/>
                  <a:gd name="T3" fmla="*/ 159 h 159"/>
                  <a:gd name="T4" fmla="*/ 159 w 159"/>
                  <a:gd name="T5" fmla="*/ 53 h 159"/>
                  <a:gd name="T6" fmla="*/ 116 w 159"/>
                  <a:gd name="T7" fmla="*/ 0 h 159"/>
                  <a:gd name="T8" fmla="*/ 0 w 159"/>
                  <a:gd name="T9" fmla="*/ 48 h 159"/>
                </a:gdLst>
                <a:ahLst/>
                <a:cxnLst>
                  <a:cxn ang="0">
                    <a:pos x="T0" y="T1"/>
                  </a:cxn>
                  <a:cxn ang="0">
                    <a:pos x="T2" y="T3"/>
                  </a:cxn>
                  <a:cxn ang="0">
                    <a:pos x="T4" y="T5"/>
                  </a:cxn>
                  <a:cxn ang="0">
                    <a:pos x="T6" y="T7"/>
                  </a:cxn>
                  <a:cxn ang="0">
                    <a:pos x="T8" y="T9"/>
                  </a:cxn>
                </a:cxnLst>
                <a:rect l="0" t="0" r="r" b="b"/>
                <a:pathLst>
                  <a:path w="159" h="159">
                    <a:moveTo>
                      <a:pt x="0" y="48"/>
                    </a:moveTo>
                    <a:lnTo>
                      <a:pt x="92" y="159"/>
                    </a:lnTo>
                    <a:lnTo>
                      <a:pt x="159" y="53"/>
                    </a:lnTo>
                    <a:lnTo>
                      <a:pt x="116" y="0"/>
                    </a:lnTo>
                    <a:lnTo>
                      <a:pt x="0"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5" name="îṩļiḋè"/>
              <p:cNvSpPr/>
              <p:nvPr/>
            </p:nvSpPr>
            <p:spPr bwMode="auto">
              <a:xfrm>
                <a:off x="3088192" y="5346675"/>
                <a:ext cx="159300" cy="161330"/>
              </a:xfrm>
              <a:custGeom>
                <a:avLst/>
                <a:gdLst>
                  <a:gd name="T0" fmla="*/ 157 w 157"/>
                  <a:gd name="T1" fmla="*/ 67 h 159"/>
                  <a:gd name="T2" fmla="*/ 46 w 157"/>
                  <a:gd name="T3" fmla="*/ 159 h 159"/>
                  <a:gd name="T4" fmla="*/ 0 w 157"/>
                  <a:gd name="T5" fmla="*/ 43 h 159"/>
                  <a:gd name="T6" fmla="*/ 52 w 157"/>
                  <a:gd name="T7" fmla="*/ 0 h 159"/>
                  <a:gd name="T8" fmla="*/ 157 w 157"/>
                  <a:gd name="T9" fmla="*/ 67 h 159"/>
                </a:gdLst>
                <a:ahLst/>
                <a:cxnLst>
                  <a:cxn ang="0">
                    <a:pos x="T0" y="T1"/>
                  </a:cxn>
                  <a:cxn ang="0">
                    <a:pos x="T2" y="T3"/>
                  </a:cxn>
                  <a:cxn ang="0">
                    <a:pos x="T4" y="T5"/>
                  </a:cxn>
                  <a:cxn ang="0">
                    <a:pos x="T6" y="T7"/>
                  </a:cxn>
                  <a:cxn ang="0">
                    <a:pos x="T8" y="T9"/>
                  </a:cxn>
                </a:cxnLst>
                <a:rect l="0" t="0" r="r" b="b"/>
                <a:pathLst>
                  <a:path w="157" h="159">
                    <a:moveTo>
                      <a:pt x="157" y="67"/>
                    </a:moveTo>
                    <a:lnTo>
                      <a:pt x="46" y="159"/>
                    </a:lnTo>
                    <a:lnTo>
                      <a:pt x="0" y="43"/>
                    </a:lnTo>
                    <a:lnTo>
                      <a:pt x="52" y="0"/>
                    </a:lnTo>
                    <a:lnTo>
                      <a:pt x="157" y="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sp>
          <p:nvSpPr>
            <p:cNvPr id="173" name="ïṧľîḍè"/>
            <p:cNvSpPr/>
            <p:nvPr/>
          </p:nvSpPr>
          <p:spPr bwMode="auto">
            <a:xfrm>
              <a:off x="6802033" y="2131917"/>
              <a:ext cx="262001" cy="243857"/>
            </a:xfrm>
            <a:custGeom>
              <a:avLst/>
              <a:gdLst>
                <a:gd name="T0" fmla="*/ 153 w 296"/>
                <a:gd name="T1" fmla="*/ 277 h 277"/>
                <a:gd name="T2" fmla="*/ 153 w 296"/>
                <a:gd name="T3" fmla="*/ 277 h 277"/>
                <a:gd name="T4" fmla="*/ 119 w 296"/>
                <a:gd name="T5" fmla="*/ 273 h 277"/>
                <a:gd name="T6" fmla="*/ 18 w 296"/>
                <a:gd name="T7" fmla="*/ 105 h 277"/>
                <a:gd name="T8" fmla="*/ 152 w 296"/>
                <a:gd name="T9" fmla="*/ 0 h 277"/>
                <a:gd name="T10" fmla="*/ 186 w 296"/>
                <a:gd name="T11" fmla="*/ 4 h 277"/>
                <a:gd name="T12" fmla="*/ 271 w 296"/>
                <a:gd name="T13" fmla="*/ 67 h 277"/>
                <a:gd name="T14" fmla="*/ 287 w 296"/>
                <a:gd name="T15" fmla="*/ 172 h 277"/>
                <a:gd name="T16" fmla="*/ 153 w 296"/>
                <a:gd name="T17" fmla="*/ 277 h 277"/>
                <a:gd name="T18" fmla="*/ 152 w 296"/>
                <a:gd name="T19" fmla="*/ 44 h 277"/>
                <a:gd name="T20" fmla="*/ 61 w 296"/>
                <a:gd name="T21" fmla="*/ 115 h 277"/>
                <a:gd name="T22" fmla="*/ 130 w 296"/>
                <a:gd name="T23" fmla="*/ 230 h 277"/>
                <a:gd name="T24" fmla="*/ 153 w 296"/>
                <a:gd name="T25" fmla="*/ 233 h 277"/>
                <a:gd name="T26" fmla="*/ 244 w 296"/>
                <a:gd name="T27" fmla="*/ 161 h 277"/>
                <a:gd name="T28" fmla="*/ 234 w 296"/>
                <a:gd name="T29" fmla="*/ 90 h 277"/>
                <a:gd name="T30" fmla="*/ 176 w 296"/>
                <a:gd name="T31" fmla="*/ 47 h 277"/>
                <a:gd name="T32" fmla="*/ 152 w 296"/>
                <a:gd name="T33" fmla="*/ 4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 h="277">
                  <a:moveTo>
                    <a:pt x="153" y="277"/>
                  </a:moveTo>
                  <a:cubicBezTo>
                    <a:pt x="153" y="277"/>
                    <a:pt x="153" y="277"/>
                    <a:pt x="153" y="277"/>
                  </a:cubicBezTo>
                  <a:cubicBezTo>
                    <a:pt x="141" y="277"/>
                    <a:pt x="130" y="276"/>
                    <a:pt x="119" y="273"/>
                  </a:cubicBezTo>
                  <a:cubicBezTo>
                    <a:pt x="45" y="254"/>
                    <a:pt x="0" y="179"/>
                    <a:pt x="18" y="105"/>
                  </a:cubicBezTo>
                  <a:cubicBezTo>
                    <a:pt x="34" y="43"/>
                    <a:pt x="89" y="0"/>
                    <a:pt x="152" y="0"/>
                  </a:cubicBezTo>
                  <a:cubicBezTo>
                    <a:pt x="164" y="0"/>
                    <a:pt x="175" y="1"/>
                    <a:pt x="186" y="4"/>
                  </a:cubicBezTo>
                  <a:cubicBezTo>
                    <a:pt x="222" y="13"/>
                    <a:pt x="252" y="35"/>
                    <a:pt x="271" y="67"/>
                  </a:cubicBezTo>
                  <a:cubicBezTo>
                    <a:pt x="291" y="99"/>
                    <a:pt x="296" y="136"/>
                    <a:pt x="287" y="172"/>
                  </a:cubicBezTo>
                  <a:cubicBezTo>
                    <a:pt x="272" y="234"/>
                    <a:pt x="216" y="277"/>
                    <a:pt x="153" y="277"/>
                  </a:cubicBezTo>
                  <a:close/>
                  <a:moveTo>
                    <a:pt x="152" y="44"/>
                  </a:moveTo>
                  <a:cubicBezTo>
                    <a:pt x="109" y="44"/>
                    <a:pt x="71" y="73"/>
                    <a:pt x="61" y="115"/>
                  </a:cubicBezTo>
                  <a:cubicBezTo>
                    <a:pt x="48" y="166"/>
                    <a:pt x="79" y="217"/>
                    <a:pt x="130" y="230"/>
                  </a:cubicBezTo>
                  <a:cubicBezTo>
                    <a:pt x="137" y="232"/>
                    <a:pt x="145" y="233"/>
                    <a:pt x="153" y="233"/>
                  </a:cubicBezTo>
                  <a:cubicBezTo>
                    <a:pt x="196" y="233"/>
                    <a:pt x="234" y="204"/>
                    <a:pt x="244" y="161"/>
                  </a:cubicBezTo>
                  <a:cubicBezTo>
                    <a:pt x="250" y="137"/>
                    <a:pt x="247" y="111"/>
                    <a:pt x="234" y="90"/>
                  </a:cubicBezTo>
                  <a:cubicBezTo>
                    <a:pt x="221" y="68"/>
                    <a:pt x="200" y="53"/>
                    <a:pt x="176" y="47"/>
                  </a:cubicBezTo>
                  <a:cubicBezTo>
                    <a:pt x="168" y="45"/>
                    <a:pt x="160" y="44"/>
                    <a:pt x="152" y="44"/>
                  </a:cubicBez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74" name="iṣlïḋé"/>
            <p:cNvSpPr/>
            <p:nvPr/>
          </p:nvSpPr>
          <p:spPr bwMode="auto">
            <a:xfrm>
              <a:off x="5533987" y="4309605"/>
              <a:ext cx="170131" cy="288090"/>
            </a:xfrm>
            <a:custGeom>
              <a:avLst/>
              <a:gdLst>
                <a:gd name="T0" fmla="*/ 177 w 192"/>
                <a:gd name="T1" fmla="*/ 45 h 326"/>
                <a:gd name="T2" fmla="*/ 163 w 192"/>
                <a:gd name="T3" fmla="*/ 52 h 326"/>
                <a:gd name="T4" fmla="*/ 156 w 192"/>
                <a:gd name="T5" fmla="*/ 56 h 326"/>
                <a:gd name="T6" fmla="*/ 149 w 192"/>
                <a:gd name="T7" fmla="*/ 60 h 326"/>
                <a:gd name="T8" fmla="*/ 140 w 192"/>
                <a:gd name="T9" fmla="*/ 65 h 326"/>
                <a:gd name="T10" fmla="*/ 131 w 192"/>
                <a:gd name="T11" fmla="*/ 72 h 326"/>
                <a:gd name="T12" fmla="*/ 121 w 192"/>
                <a:gd name="T13" fmla="*/ 79 h 326"/>
                <a:gd name="T14" fmla="*/ 110 w 192"/>
                <a:gd name="T15" fmla="*/ 87 h 326"/>
                <a:gd name="T16" fmla="*/ 100 w 192"/>
                <a:gd name="T17" fmla="*/ 97 h 326"/>
                <a:gd name="T18" fmla="*/ 89 w 192"/>
                <a:gd name="T19" fmla="*/ 107 h 326"/>
                <a:gd name="T20" fmla="*/ 79 w 192"/>
                <a:gd name="T21" fmla="*/ 118 h 326"/>
                <a:gd name="T22" fmla="*/ 69 w 192"/>
                <a:gd name="T23" fmla="*/ 131 h 326"/>
                <a:gd name="T24" fmla="*/ 64 w 192"/>
                <a:gd name="T25" fmla="*/ 137 h 326"/>
                <a:gd name="T26" fmla="*/ 59 w 192"/>
                <a:gd name="T27" fmla="*/ 143 h 326"/>
                <a:gd name="T28" fmla="*/ 50 w 192"/>
                <a:gd name="T29" fmla="*/ 157 h 326"/>
                <a:gd name="T30" fmla="*/ 42 w 192"/>
                <a:gd name="T31" fmla="*/ 171 h 326"/>
                <a:gd name="T32" fmla="*/ 34 w 192"/>
                <a:gd name="T33" fmla="*/ 186 h 326"/>
                <a:gd name="T34" fmla="*/ 31 w 192"/>
                <a:gd name="T35" fmla="*/ 193 h 326"/>
                <a:gd name="T36" fmla="*/ 28 w 192"/>
                <a:gd name="T37" fmla="*/ 200 h 326"/>
                <a:gd name="T38" fmla="*/ 22 w 192"/>
                <a:gd name="T39" fmla="*/ 215 h 326"/>
                <a:gd name="T40" fmla="*/ 13 w 192"/>
                <a:gd name="T41" fmla="*/ 243 h 326"/>
                <a:gd name="T42" fmla="*/ 10 w 192"/>
                <a:gd name="T43" fmla="*/ 257 h 326"/>
                <a:gd name="T44" fmla="*/ 8 w 192"/>
                <a:gd name="T45" fmla="*/ 270 h 326"/>
                <a:gd name="T46" fmla="*/ 5 w 192"/>
                <a:gd name="T47" fmla="*/ 292 h 326"/>
                <a:gd name="T48" fmla="*/ 4 w 192"/>
                <a:gd name="T49" fmla="*/ 302 h 326"/>
                <a:gd name="T50" fmla="*/ 4 w 192"/>
                <a:gd name="T51" fmla="*/ 310 h 326"/>
                <a:gd name="T52" fmla="*/ 3 w 192"/>
                <a:gd name="T53" fmla="*/ 326 h 326"/>
                <a:gd name="T54" fmla="*/ 2 w 192"/>
                <a:gd name="T55" fmla="*/ 310 h 326"/>
                <a:gd name="T56" fmla="*/ 1 w 192"/>
                <a:gd name="T57" fmla="*/ 302 h 326"/>
                <a:gd name="T58" fmla="*/ 1 w 192"/>
                <a:gd name="T59" fmla="*/ 292 h 326"/>
                <a:gd name="T60" fmla="*/ 1 w 192"/>
                <a:gd name="T61" fmla="*/ 269 h 326"/>
                <a:gd name="T62" fmla="*/ 1 w 192"/>
                <a:gd name="T63" fmla="*/ 256 h 326"/>
                <a:gd name="T64" fmla="*/ 3 w 192"/>
                <a:gd name="T65" fmla="*/ 241 h 326"/>
                <a:gd name="T66" fmla="*/ 8 w 192"/>
                <a:gd name="T67" fmla="*/ 211 h 326"/>
                <a:gd name="T68" fmla="*/ 13 w 192"/>
                <a:gd name="T69" fmla="*/ 195 h 326"/>
                <a:gd name="T70" fmla="*/ 15 w 192"/>
                <a:gd name="T71" fmla="*/ 187 h 326"/>
                <a:gd name="T72" fmla="*/ 18 w 192"/>
                <a:gd name="T73" fmla="*/ 179 h 326"/>
                <a:gd name="T74" fmla="*/ 24 w 192"/>
                <a:gd name="T75" fmla="*/ 162 h 326"/>
                <a:gd name="T76" fmla="*/ 30 w 192"/>
                <a:gd name="T77" fmla="*/ 146 h 326"/>
                <a:gd name="T78" fmla="*/ 38 w 192"/>
                <a:gd name="T79" fmla="*/ 131 h 326"/>
                <a:gd name="T80" fmla="*/ 43 w 192"/>
                <a:gd name="T81" fmla="*/ 123 h 326"/>
                <a:gd name="T82" fmla="*/ 47 w 192"/>
                <a:gd name="T83" fmla="*/ 116 h 326"/>
                <a:gd name="T84" fmla="*/ 56 w 192"/>
                <a:gd name="T85" fmla="*/ 101 h 326"/>
                <a:gd name="T86" fmla="*/ 66 w 192"/>
                <a:gd name="T87" fmla="*/ 88 h 326"/>
                <a:gd name="T88" fmla="*/ 76 w 192"/>
                <a:gd name="T89" fmla="*/ 75 h 326"/>
                <a:gd name="T90" fmla="*/ 87 w 192"/>
                <a:gd name="T91" fmla="*/ 63 h 326"/>
                <a:gd name="T92" fmla="*/ 97 w 192"/>
                <a:gd name="T93" fmla="*/ 52 h 326"/>
                <a:gd name="T94" fmla="*/ 107 w 192"/>
                <a:gd name="T95" fmla="*/ 43 h 326"/>
                <a:gd name="T96" fmla="*/ 117 w 192"/>
                <a:gd name="T97" fmla="*/ 34 h 326"/>
                <a:gd name="T98" fmla="*/ 126 w 192"/>
                <a:gd name="T99" fmla="*/ 27 h 326"/>
                <a:gd name="T100" fmla="*/ 135 w 192"/>
                <a:gd name="T101" fmla="*/ 20 h 326"/>
                <a:gd name="T102" fmla="*/ 142 w 192"/>
                <a:gd name="T103" fmla="*/ 16 h 326"/>
                <a:gd name="T104" fmla="*/ 154 w 192"/>
                <a:gd name="T105" fmla="*/ 7 h 326"/>
                <a:gd name="T106" fmla="*/ 185 w 192"/>
                <a:gd name="T107" fmla="*/ 13 h 326"/>
                <a:gd name="T108" fmla="*/ 179 w 192"/>
                <a:gd name="T109" fmla="*/ 44 h 326"/>
                <a:gd name="T110" fmla="*/ 177 w 192"/>
                <a:gd name="T111"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326">
                  <a:moveTo>
                    <a:pt x="177" y="45"/>
                  </a:moveTo>
                  <a:cubicBezTo>
                    <a:pt x="177" y="45"/>
                    <a:pt x="172" y="47"/>
                    <a:pt x="163" y="52"/>
                  </a:cubicBezTo>
                  <a:cubicBezTo>
                    <a:pt x="161" y="53"/>
                    <a:pt x="158" y="54"/>
                    <a:pt x="156" y="56"/>
                  </a:cubicBezTo>
                  <a:cubicBezTo>
                    <a:pt x="154" y="57"/>
                    <a:pt x="151" y="59"/>
                    <a:pt x="149" y="60"/>
                  </a:cubicBezTo>
                  <a:cubicBezTo>
                    <a:pt x="146" y="62"/>
                    <a:pt x="143" y="63"/>
                    <a:pt x="140" y="65"/>
                  </a:cubicBezTo>
                  <a:cubicBezTo>
                    <a:pt x="137" y="67"/>
                    <a:pt x="134" y="69"/>
                    <a:pt x="131" y="72"/>
                  </a:cubicBezTo>
                  <a:cubicBezTo>
                    <a:pt x="128" y="74"/>
                    <a:pt x="124" y="76"/>
                    <a:pt x="121" y="79"/>
                  </a:cubicBezTo>
                  <a:cubicBezTo>
                    <a:pt x="117" y="82"/>
                    <a:pt x="114" y="85"/>
                    <a:pt x="110" y="87"/>
                  </a:cubicBezTo>
                  <a:cubicBezTo>
                    <a:pt x="107" y="90"/>
                    <a:pt x="103" y="94"/>
                    <a:pt x="100" y="97"/>
                  </a:cubicBezTo>
                  <a:cubicBezTo>
                    <a:pt x="96" y="100"/>
                    <a:pt x="92" y="103"/>
                    <a:pt x="89" y="107"/>
                  </a:cubicBezTo>
                  <a:cubicBezTo>
                    <a:pt x="86" y="111"/>
                    <a:pt x="82" y="115"/>
                    <a:pt x="79" y="118"/>
                  </a:cubicBezTo>
                  <a:cubicBezTo>
                    <a:pt x="75" y="122"/>
                    <a:pt x="72" y="127"/>
                    <a:pt x="69" y="131"/>
                  </a:cubicBezTo>
                  <a:cubicBezTo>
                    <a:pt x="67" y="133"/>
                    <a:pt x="65" y="135"/>
                    <a:pt x="64" y="137"/>
                  </a:cubicBezTo>
                  <a:cubicBezTo>
                    <a:pt x="62" y="139"/>
                    <a:pt x="61" y="141"/>
                    <a:pt x="59" y="143"/>
                  </a:cubicBezTo>
                  <a:cubicBezTo>
                    <a:pt x="56" y="148"/>
                    <a:pt x="53" y="152"/>
                    <a:pt x="50" y="157"/>
                  </a:cubicBezTo>
                  <a:cubicBezTo>
                    <a:pt x="47" y="162"/>
                    <a:pt x="44" y="166"/>
                    <a:pt x="42" y="171"/>
                  </a:cubicBezTo>
                  <a:cubicBezTo>
                    <a:pt x="39" y="176"/>
                    <a:pt x="37" y="181"/>
                    <a:pt x="34" y="186"/>
                  </a:cubicBezTo>
                  <a:cubicBezTo>
                    <a:pt x="33" y="188"/>
                    <a:pt x="32" y="190"/>
                    <a:pt x="31" y="193"/>
                  </a:cubicBezTo>
                  <a:cubicBezTo>
                    <a:pt x="30" y="195"/>
                    <a:pt x="29" y="198"/>
                    <a:pt x="28" y="200"/>
                  </a:cubicBezTo>
                  <a:cubicBezTo>
                    <a:pt x="26" y="205"/>
                    <a:pt x="23" y="210"/>
                    <a:pt x="22" y="215"/>
                  </a:cubicBezTo>
                  <a:cubicBezTo>
                    <a:pt x="19" y="225"/>
                    <a:pt x="15" y="234"/>
                    <a:pt x="13" y="243"/>
                  </a:cubicBezTo>
                  <a:cubicBezTo>
                    <a:pt x="12" y="248"/>
                    <a:pt x="11" y="252"/>
                    <a:pt x="10" y="257"/>
                  </a:cubicBezTo>
                  <a:cubicBezTo>
                    <a:pt x="9" y="261"/>
                    <a:pt x="8" y="266"/>
                    <a:pt x="8" y="270"/>
                  </a:cubicBezTo>
                  <a:cubicBezTo>
                    <a:pt x="6" y="278"/>
                    <a:pt x="5" y="286"/>
                    <a:pt x="5" y="292"/>
                  </a:cubicBezTo>
                  <a:cubicBezTo>
                    <a:pt x="4" y="296"/>
                    <a:pt x="4" y="299"/>
                    <a:pt x="4" y="302"/>
                  </a:cubicBezTo>
                  <a:cubicBezTo>
                    <a:pt x="4" y="305"/>
                    <a:pt x="4" y="308"/>
                    <a:pt x="4" y="310"/>
                  </a:cubicBezTo>
                  <a:cubicBezTo>
                    <a:pt x="4" y="320"/>
                    <a:pt x="3" y="326"/>
                    <a:pt x="3" y="326"/>
                  </a:cubicBezTo>
                  <a:cubicBezTo>
                    <a:pt x="3" y="326"/>
                    <a:pt x="3" y="320"/>
                    <a:pt x="2" y="310"/>
                  </a:cubicBezTo>
                  <a:cubicBezTo>
                    <a:pt x="2" y="308"/>
                    <a:pt x="1" y="305"/>
                    <a:pt x="1" y="302"/>
                  </a:cubicBezTo>
                  <a:cubicBezTo>
                    <a:pt x="1" y="299"/>
                    <a:pt x="1" y="296"/>
                    <a:pt x="1" y="292"/>
                  </a:cubicBezTo>
                  <a:cubicBezTo>
                    <a:pt x="1" y="285"/>
                    <a:pt x="0" y="278"/>
                    <a:pt x="1" y="269"/>
                  </a:cubicBezTo>
                  <a:cubicBezTo>
                    <a:pt x="1" y="265"/>
                    <a:pt x="1" y="260"/>
                    <a:pt x="1" y="256"/>
                  </a:cubicBezTo>
                  <a:cubicBezTo>
                    <a:pt x="2" y="251"/>
                    <a:pt x="2" y="246"/>
                    <a:pt x="3" y="241"/>
                  </a:cubicBezTo>
                  <a:cubicBezTo>
                    <a:pt x="4" y="232"/>
                    <a:pt x="6" y="221"/>
                    <a:pt x="8" y="211"/>
                  </a:cubicBezTo>
                  <a:cubicBezTo>
                    <a:pt x="9" y="206"/>
                    <a:pt x="11" y="200"/>
                    <a:pt x="13" y="195"/>
                  </a:cubicBezTo>
                  <a:cubicBezTo>
                    <a:pt x="13" y="192"/>
                    <a:pt x="14" y="189"/>
                    <a:pt x="15" y="187"/>
                  </a:cubicBezTo>
                  <a:cubicBezTo>
                    <a:pt x="16" y="184"/>
                    <a:pt x="17" y="181"/>
                    <a:pt x="18" y="179"/>
                  </a:cubicBezTo>
                  <a:cubicBezTo>
                    <a:pt x="20" y="173"/>
                    <a:pt x="21" y="168"/>
                    <a:pt x="24" y="162"/>
                  </a:cubicBezTo>
                  <a:cubicBezTo>
                    <a:pt x="26" y="157"/>
                    <a:pt x="28" y="152"/>
                    <a:pt x="30" y="146"/>
                  </a:cubicBezTo>
                  <a:cubicBezTo>
                    <a:pt x="33" y="141"/>
                    <a:pt x="36" y="136"/>
                    <a:pt x="38" y="131"/>
                  </a:cubicBezTo>
                  <a:cubicBezTo>
                    <a:pt x="40" y="128"/>
                    <a:pt x="41" y="126"/>
                    <a:pt x="43" y="123"/>
                  </a:cubicBezTo>
                  <a:cubicBezTo>
                    <a:pt x="44" y="121"/>
                    <a:pt x="46" y="118"/>
                    <a:pt x="47" y="116"/>
                  </a:cubicBezTo>
                  <a:cubicBezTo>
                    <a:pt x="50" y="111"/>
                    <a:pt x="53" y="106"/>
                    <a:pt x="56" y="101"/>
                  </a:cubicBezTo>
                  <a:cubicBezTo>
                    <a:pt x="60" y="97"/>
                    <a:pt x="63" y="92"/>
                    <a:pt x="66" y="88"/>
                  </a:cubicBezTo>
                  <a:cubicBezTo>
                    <a:pt x="69" y="83"/>
                    <a:pt x="73" y="79"/>
                    <a:pt x="76" y="75"/>
                  </a:cubicBezTo>
                  <a:cubicBezTo>
                    <a:pt x="80" y="71"/>
                    <a:pt x="83" y="67"/>
                    <a:pt x="87" y="63"/>
                  </a:cubicBezTo>
                  <a:cubicBezTo>
                    <a:pt x="90" y="59"/>
                    <a:pt x="94" y="56"/>
                    <a:pt x="97" y="52"/>
                  </a:cubicBezTo>
                  <a:cubicBezTo>
                    <a:pt x="100" y="49"/>
                    <a:pt x="104" y="46"/>
                    <a:pt x="107" y="43"/>
                  </a:cubicBezTo>
                  <a:cubicBezTo>
                    <a:pt x="111" y="40"/>
                    <a:pt x="114" y="37"/>
                    <a:pt x="117" y="34"/>
                  </a:cubicBezTo>
                  <a:cubicBezTo>
                    <a:pt x="120" y="32"/>
                    <a:pt x="123" y="29"/>
                    <a:pt x="126" y="27"/>
                  </a:cubicBezTo>
                  <a:cubicBezTo>
                    <a:pt x="129" y="25"/>
                    <a:pt x="132" y="22"/>
                    <a:pt x="135" y="20"/>
                  </a:cubicBezTo>
                  <a:cubicBezTo>
                    <a:pt x="137" y="18"/>
                    <a:pt x="140" y="17"/>
                    <a:pt x="142" y="16"/>
                  </a:cubicBezTo>
                  <a:cubicBezTo>
                    <a:pt x="150" y="10"/>
                    <a:pt x="154" y="7"/>
                    <a:pt x="154" y="7"/>
                  </a:cubicBezTo>
                  <a:cubicBezTo>
                    <a:pt x="165" y="0"/>
                    <a:pt x="178" y="3"/>
                    <a:pt x="185" y="13"/>
                  </a:cubicBezTo>
                  <a:cubicBezTo>
                    <a:pt x="192" y="23"/>
                    <a:pt x="189" y="37"/>
                    <a:pt x="179" y="44"/>
                  </a:cubicBezTo>
                  <a:cubicBezTo>
                    <a:pt x="179" y="44"/>
                    <a:pt x="178" y="44"/>
                    <a:pt x="177" y="45"/>
                  </a:cubicBezTo>
                  <a:close/>
                </a:path>
              </a:pathLst>
            </a:custGeom>
            <a:solidFill>
              <a:schemeClr val="bg1">
                <a:lumMod val="6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75" name="íṩļîḓé"/>
            <p:cNvSpPr/>
            <p:nvPr/>
          </p:nvSpPr>
          <p:spPr bwMode="auto">
            <a:xfrm>
              <a:off x="5634932" y="4268772"/>
              <a:ext cx="155386" cy="149716"/>
            </a:xfrm>
            <a:custGeom>
              <a:avLst/>
              <a:gdLst>
                <a:gd name="T0" fmla="*/ 0 w 137"/>
                <a:gd name="T1" fmla="*/ 0 h 132"/>
                <a:gd name="T2" fmla="*/ 137 w 137"/>
                <a:gd name="T3" fmla="*/ 28 h 132"/>
                <a:gd name="T4" fmla="*/ 44 w 137"/>
                <a:gd name="T5" fmla="*/ 132 h 132"/>
                <a:gd name="T6" fmla="*/ 0 w 137"/>
                <a:gd name="T7" fmla="*/ 0 h 132"/>
              </a:gdLst>
              <a:ahLst/>
              <a:cxnLst>
                <a:cxn ang="0">
                  <a:pos x="T0" y="T1"/>
                </a:cxn>
                <a:cxn ang="0">
                  <a:pos x="T2" y="T3"/>
                </a:cxn>
                <a:cxn ang="0">
                  <a:pos x="T4" y="T5"/>
                </a:cxn>
                <a:cxn ang="0">
                  <a:pos x="T6" y="T7"/>
                </a:cxn>
              </a:cxnLst>
              <a:rect l="0" t="0" r="r" b="b"/>
              <a:pathLst>
                <a:path w="137" h="132">
                  <a:moveTo>
                    <a:pt x="0" y="0"/>
                  </a:moveTo>
                  <a:lnTo>
                    <a:pt x="137" y="28"/>
                  </a:lnTo>
                  <a:lnTo>
                    <a:pt x="44" y="132"/>
                  </a:lnTo>
                  <a:lnTo>
                    <a:pt x="0"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76" name="ïsḻïďé"/>
            <p:cNvSpPr/>
            <p:nvPr/>
          </p:nvSpPr>
          <p:spPr bwMode="auto">
            <a:xfrm>
              <a:off x="6864414" y="2932670"/>
              <a:ext cx="235917" cy="733837"/>
            </a:xfrm>
            <a:custGeom>
              <a:avLst/>
              <a:gdLst>
                <a:gd name="T0" fmla="*/ 74 w 266"/>
                <a:gd name="T1" fmla="*/ 17 h 831"/>
                <a:gd name="T2" fmla="*/ 81 w 266"/>
                <a:gd name="T3" fmla="*/ 24 h 831"/>
                <a:gd name="T4" fmla="*/ 88 w 266"/>
                <a:gd name="T5" fmla="*/ 33 h 831"/>
                <a:gd name="T6" fmla="*/ 93 w 266"/>
                <a:gd name="T7" fmla="*/ 39 h 831"/>
                <a:gd name="T8" fmla="*/ 99 w 266"/>
                <a:gd name="T9" fmla="*/ 45 h 831"/>
                <a:gd name="T10" fmla="*/ 112 w 266"/>
                <a:gd name="T11" fmla="*/ 62 h 831"/>
                <a:gd name="T12" fmla="*/ 127 w 266"/>
                <a:gd name="T13" fmla="*/ 81 h 831"/>
                <a:gd name="T14" fmla="*/ 143 w 266"/>
                <a:gd name="T15" fmla="*/ 103 h 831"/>
                <a:gd name="T16" fmla="*/ 159 w 266"/>
                <a:gd name="T17" fmla="*/ 128 h 831"/>
                <a:gd name="T18" fmla="*/ 192 w 266"/>
                <a:gd name="T19" fmla="*/ 187 h 831"/>
                <a:gd name="T20" fmla="*/ 222 w 266"/>
                <a:gd name="T21" fmla="*/ 256 h 831"/>
                <a:gd name="T22" fmla="*/ 245 w 266"/>
                <a:gd name="T23" fmla="*/ 332 h 831"/>
                <a:gd name="T24" fmla="*/ 260 w 266"/>
                <a:gd name="T25" fmla="*/ 413 h 831"/>
                <a:gd name="T26" fmla="*/ 266 w 266"/>
                <a:gd name="T27" fmla="*/ 494 h 831"/>
                <a:gd name="T28" fmla="*/ 262 w 266"/>
                <a:gd name="T29" fmla="*/ 573 h 831"/>
                <a:gd name="T30" fmla="*/ 257 w 266"/>
                <a:gd name="T31" fmla="*/ 610 h 831"/>
                <a:gd name="T32" fmla="*/ 251 w 266"/>
                <a:gd name="T33" fmla="*/ 645 h 831"/>
                <a:gd name="T34" fmla="*/ 247 w 266"/>
                <a:gd name="T35" fmla="*/ 662 h 831"/>
                <a:gd name="T36" fmla="*/ 243 w 266"/>
                <a:gd name="T37" fmla="*/ 678 h 831"/>
                <a:gd name="T38" fmla="*/ 234 w 266"/>
                <a:gd name="T39" fmla="*/ 708 h 831"/>
                <a:gd name="T40" fmla="*/ 215 w 266"/>
                <a:gd name="T41" fmla="*/ 760 h 831"/>
                <a:gd name="T42" fmla="*/ 206 w 266"/>
                <a:gd name="T43" fmla="*/ 781 h 831"/>
                <a:gd name="T44" fmla="*/ 198 w 266"/>
                <a:gd name="T45" fmla="*/ 799 h 831"/>
                <a:gd name="T46" fmla="*/ 194 w 266"/>
                <a:gd name="T47" fmla="*/ 806 h 831"/>
                <a:gd name="T48" fmla="*/ 191 w 266"/>
                <a:gd name="T49" fmla="*/ 813 h 831"/>
                <a:gd name="T50" fmla="*/ 186 w 266"/>
                <a:gd name="T51" fmla="*/ 823 h 831"/>
                <a:gd name="T52" fmla="*/ 181 w 266"/>
                <a:gd name="T53" fmla="*/ 831 h 831"/>
                <a:gd name="T54" fmla="*/ 185 w 266"/>
                <a:gd name="T55" fmla="*/ 822 h 831"/>
                <a:gd name="T56" fmla="*/ 189 w 266"/>
                <a:gd name="T57" fmla="*/ 812 h 831"/>
                <a:gd name="T58" fmla="*/ 192 w 266"/>
                <a:gd name="T59" fmla="*/ 805 h 831"/>
                <a:gd name="T60" fmla="*/ 195 w 266"/>
                <a:gd name="T61" fmla="*/ 797 h 831"/>
                <a:gd name="T62" fmla="*/ 201 w 266"/>
                <a:gd name="T63" fmla="*/ 779 h 831"/>
                <a:gd name="T64" fmla="*/ 208 w 266"/>
                <a:gd name="T65" fmla="*/ 758 h 831"/>
                <a:gd name="T66" fmla="*/ 222 w 266"/>
                <a:gd name="T67" fmla="*/ 705 h 831"/>
                <a:gd name="T68" fmla="*/ 228 w 266"/>
                <a:gd name="T69" fmla="*/ 675 h 831"/>
                <a:gd name="T70" fmla="*/ 230 w 266"/>
                <a:gd name="T71" fmla="*/ 659 h 831"/>
                <a:gd name="T72" fmla="*/ 232 w 266"/>
                <a:gd name="T73" fmla="*/ 642 h 831"/>
                <a:gd name="T74" fmla="*/ 235 w 266"/>
                <a:gd name="T75" fmla="*/ 608 h 831"/>
                <a:gd name="T76" fmla="*/ 237 w 266"/>
                <a:gd name="T77" fmla="*/ 572 h 831"/>
                <a:gd name="T78" fmla="*/ 233 w 266"/>
                <a:gd name="T79" fmla="*/ 496 h 831"/>
                <a:gd name="T80" fmla="*/ 221 w 266"/>
                <a:gd name="T81" fmla="*/ 420 h 831"/>
                <a:gd name="T82" fmla="*/ 200 w 266"/>
                <a:gd name="T83" fmla="*/ 346 h 831"/>
                <a:gd name="T84" fmla="*/ 172 w 266"/>
                <a:gd name="T85" fmla="*/ 277 h 831"/>
                <a:gd name="T86" fmla="*/ 138 w 266"/>
                <a:gd name="T87" fmla="*/ 217 h 831"/>
                <a:gd name="T88" fmla="*/ 104 w 266"/>
                <a:gd name="T89" fmla="*/ 166 h 831"/>
                <a:gd name="T90" fmla="*/ 87 w 266"/>
                <a:gd name="T91" fmla="*/ 145 h 831"/>
                <a:gd name="T92" fmla="*/ 71 w 266"/>
                <a:gd name="T93" fmla="*/ 126 h 831"/>
                <a:gd name="T94" fmla="*/ 56 w 266"/>
                <a:gd name="T95" fmla="*/ 110 h 831"/>
                <a:gd name="T96" fmla="*/ 43 w 266"/>
                <a:gd name="T97" fmla="*/ 98 h 831"/>
                <a:gd name="T98" fmla="*/ 38 w 266"/>
                <a:gd name="T99" fmla="*/ 92 h 831"/>
                <a:gd name="T100" fmla="*/ 33 w 266"/>
                <a:gd name="T101" fmla="*/ 88 h 831"/>
                <a:gd name="T102" fmla="*/ 24 w 266"/>
                <a:gd name="T103" fmla="*/ 80 h 831"/>
                <a:gd name="T104" fmla="*/ 17 w 266"/>
                <a:gd name="T105" fmla="*/ 73 h 831"/>
                <a:gd name="T106" fmla="*/ 15 w 266"/>
                <a:gd name="T107" fmla="*/ 17 h 831"/>
                <a:gd name="T108" fmla="*/ 72 w 266"/>
                <a:gd name="T109" fmla="*/ 15 h 831"/>
                <a:gd name="T110" fmla="*/ 74 w 266"/>
                <a:gd name="T111" fmla="*/ 1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6" h="831">
                  <a:moveTo>
                    <a:pt x="74" y="17"/>
                  </a:moveTo>
                  <a:cubicBezTo>
                    <a:pt x="74" y="17"/>
                    <a:pt x="76" y="20"/>
                    <a:pt x="81" y="24"/>
                  </a:cubicBezTo>
                  <a:cubicBezTo>
                    <a:pt x="83" y="27"/>
                    <a:pt x="85" y="30"/>
                    <a:pt x="88" y="33"/>
                  </a:cubicBezTo>
                  <a:cubicBezTo>
                    <a:pt x="90" y="35"/>
                    <a:pt x="91" y="36"/>
                    <a:pt x="93" y="39"/>
                  </a:cubicBezTo>
                  <a:cubicBezTo>
                    <a:pt x="95" y="41"/>
                    <a:pt x="97" y="43"/>
                    <a:pt x="99" y="45"/>
                  </a:cubicBezTo>
                  <a:cubicBezTo>
                    <a:pt x="103" y="50"/>
                    <a:pt x="108" y="56"/>
                    <a:pt x="112" y="62"/>
                  </a:cubicBezTo>
                  <a:cubicBezTo>
                    <a:pt x="117" y="67"/>
                    <a:pt x="122" y="74"/>
                    <a:pt x="127" y="81"/>
                  </a:cubicBezTo>
                  <a:cubicBezTo>
                    <a:pt x="132" y="88"/>
                    <a:pt x="137" y="95"/>
                    <a:pt x="143" y="103"/>
                  </a:cubicBezTo>
                  <a:cubicBezTo>
                    <a:pt x="148" y="111"/>
                    <a:pt x="153" y="119"/>
                    <a:pt x="159" y="128"/>
                  </a:cubicBezTo>
                  <a:cubicBezTo>
                    <a:pt x="170" y="146"/>
                    <a:pt x="181" y="166"/>
                    <a:pt x="192" y="187"/>
                  </a:cubicBezTo>
                  <a:cubicBezTo>
                    <a:pt x="203" y="208"/>
                    <a:pt x="213" y="232"/>
                    <a:pt x="222" y="256"/>
                  </a:cubicBezTo>
                  <a:cubicBezTo>
                    <a:pt x="231" y="280"/>
                    <a:pt x="239" y="306"/>
                    <a:pt x="245" y="332"/>
                  </a:cubicBezTo>
                  <a:cubicBezTo>
                    <a:pt x="252" y="359"/>
                    <a:pt x="257" y="386"/>
                    <a:pt x="260" y="413"/>
                  </a:cubicBezTo>
                  <a:cubicBezTo>
                    <a:pt x="264" y="440"/>
                    <a:pt x="265" y="468"/>
                    <a:pt x="266" y="494"/>
                  </a:cubicBezTo>
                  <a:cubicBezTo>
                    <a:pt x="266" y="521"/>
                    <a:pt x="265" y="548"/>
                    <a:pt x="262" y="573"/>
                  </a:cubicBezTo>
                  <a:cubicBezTo>
                    <a:pt x="261" y="586"/>
                    <a:pt x="259" y="598"/>
                    <a:pt x="257" y="610"/>
                  </a:cubicBezTo>
                  <a:cubicBezTo>
                    <a:pt x="255" y="622"/>
                    <a:pt x="253" y="634"/>
                    <a:pt x="251" y="645"/>
                  </a:cubicBezTo>
                  <a:cubicBezTo>
                    <a:pt x="249" y="651"/>
                    <a:pt x="248" y="657"/>
                    <a:pt x="247" y="662"/>
                  </a:cubicBezTo>
                  <a:cubicBezTo>
                    <a:pt x="245" y="668"/>
                    <a:pt x="244" y="673"/>
                    <a:pt x="243" y="678"/>
                  </a:cubicBezTo>
                  <a:cubicBezTo>
                    <a:pt x="240" y="689"/>
                    <a:pt x="237" y="699"/>
                    <a:pt x="234" y="708"/>
                  </a:cubicBezTo>
                  <a:cubicBezTo>
                    <a:pt x="228" y="728"/>
                    <a:pt x="221" y="745"/>
                    <a:pt x="215" y="760"/>
                  </a:cubicBezTo>
                  <a:cubicBezTo>
                    <a:pt x="212" y="768"/>
                    <a:pt x="209" y="775"/>
                    <a:pt x="206" y="781"/>
                  </a:cubicBezTo>
                  <a:cubicBezTo>
                    <a:pt x="203" y="788"/>
                    <a:pt x="200" y="793"/>
                    <a:pt x="198" y="799"/>
                  </a:cubicBezTo>
                  <a:cubicBezTo>
                    <a:pt x="197" y="801"/>
                    <a:pt x="195" y="804"/>
                    <a:pt x="194" y="806"/>
                  </a:cubicBezTo>
                  <a:cubicBezTo>
                    <a:pt x="193" y="808"/>
                    <a:pt x="192" y="811"/>
                    <a:pt x="191" y="813"/>
                  </a:cubicBezTo>
                  <a:cubicBezTo>
                    <a:pt x="189" y="817"/>
                    <a:pt x="187" y="820"/>
                    <a:pt x="186" y="823"/>
                  </a:cubicBezTo>
                  <a:cubicBezTo>
                    <a:pt x="183" y="828"/>
                    <a:pt x="181" y="831"/>
                    <a:pt x="181" y="831"/>
                  </a:cubicBezTo>
                  <a:cubicBezTo>
                    <a:pt x="181" y="831"/>
                    <a:pt x="182" y="828"/>
                    <a:pt x="185" y="822"/>
                  </a:cubicBezTo>
                  <a:cubicBezTo>
                    <a:pt x="186" y="820"/>
                    <a:pt x="187" y="816"/>
                    <a:pt x="189" y="812"/>
                  </a:cubicBezTo>
                  <a:cubicBezTo>
                    <a:pt x="190" y="810"/>
                    <a:pt x="191" y="808"/>
                    <a:pt x="192" y="805"/>
                  </a:cubicBezTo>
                  <a:cubicBezTo>
                    <a:pt x="193" y="803"/>
                    <a:pt x="194" y="800"/>
                    <a:pt x="195" y="797"/>
                  </a:cubicBezTo>
                  <a:cubicBezTo>
                    <a:pt x="197" y="792"/>
                    <a:pt x="199" y="786"/>
                    <a:pt x="201" y="779"/>
                  </a:cubicBezTo>
                  <a:cubicBezTo>
                    <a:pt x="203" y="773"/>
                    <a:pt x="206" y="765"/>
                    <a:pt x="208" y="758"/>
                  </a:cubicBezTo>
                  <a:cubicBezTo>
                    <a:pt x="213" y="742"/>
                    <a:pt x="218" y="725"/>
                    <a:pt x="222" y="705"/>
                  </a:cubicBezTo>
                  <a:cubicBezTo>
                    <a:pt x="224" y="696"/>
                    <a:pt x="226" y="685"/>
                    <a:pt x="228" y="675"/>
                  </a:cubicBezTo>
                  <a:cubicBezTo>
                    <a:pt x="229" y="670"/>
                    <a:pt x="229" y="664"/>
                    <a:pt x="230" y="659"/>
                  </a:cubicBezTo>
                  <a:cubicBezTo>
                    <a:pt x="231" y="653"/>
                    <a:pt x="232" y="648"/>
                    <a:pt x="232" y="642"/>
                  </a:cubicBezTo>
                  <a:cubicBezTo>
                    <a:pt x="233" y="631"/>
                    <a:pt x="235" y="620"/>
                    <a:pt x="235" y="608"/>
                  </a:cubicBezTo>
                  <a:cubicBezTo>
                    <a:pt x="236" y="596"/>
                    <a:pt x="237" y="584"/>
                    <a:pt x="237" y="572"/>
                  </a:cubicBezTo>
                  <a:cubicBezTo>
                    <a:pt x="237" y="547"/>
                    <a:pt x="236" y="522"/>
                    <a:pt x="233" y="496"/>
                  </a:cubicBezTo>
                  <a:cubicBezTo>
                    <a:pt x="231" y="471"/>
                    <a:pt x="227" y="445"/>
                    <a:pt x="221" y="420"/>
                  </a:cubicBezTo>
                  <a:cubicBezTo>
                    <a:pt x="215" y="395"/>
                    <a:pt x="208" y="370"/>
                    <a:pt x="200" y="346"/>
                  </a:cubicBezTo>
                  <a:cubicBezTo>
                    <a:pt x="191" y="322"/>
                    <a:pt x="182" y="299"/>
                    <a:pt x="172" y="277"/>
                  </a:cubicBezTo>
                  <a:cubicBezTo>
                    <a:pt x="161" y="256"/>
                    <a:pt x="150" y="235"/>
                    <a:pt x="138" y="217"/>
                  </a:cubicBezTo>
                  <a:cubicBezTo>
                    <a:pt x="127" y="198"/>
                    <a:pt x="115" y="181"/>
                    <a:pt x="104" y="166"/>
                  </a:cubicBezTo>
                  <a:cubicBezTo>
                    <a:pt x="98" y="159"/>
                    <a:pt x="92" y="151"/>
                    <a:pt x="87" y="145"/>
                  </a:cubicBezTo>
                  <a:cubicBezTo>
                    <a:pt x="81" y="138"/>
                    <a:pt x="76" y="132"/>
                    <a:pt x="71" y="126"/>
                  </a:cubicBezTo>
                  <a:cubicBezTo>
                    <a:pt x="65" y="120"/>
                    <a:pt x="60" y="115"/>
                    <a:pt x="56" y="110"/>
                  </a:cubicBezTo>
                  <a:cubicBezTo>
                    <a:pt x="51" y="106"/>
                    <a:pt x="47" y="102"/>
                    <a:pt x="43" y="98"/>
                  </a:cubicBezTo>
                  <a:cubicBezTo>
                    <a:pt x="42" y="96"/>
                    <a:pt x="40" y="94"/>
                    <a:pt x="38" y="92"/>
                  </a:cubicBezTo>
                  <a:cubicBezTo>
                    <a:pt x="36" y="91"/>
                    <a:pt x="34" y="89"/>
                    <a:pt x="33" y="88"/>
                  </a:cubicBezTo>
                  <a:cubicBezTo>
                    <a:pt x="30" y="84"/>
                    <a:pt x="27" y="82"/>
                    <a:pt x="24" y="80"/>
                  </a:cubicBezTo>
                  <a:cubicBezTo>
                    <a:pt x="20" y="75"/>
                    <a:pt x="17" y="73"/>
                    <a:pt x="17" y="73"/>
                  </a:cubicBezTo>
                  <a:cubicBezTo>
                    <a:pt x="1" y="58"/>
                    <a:pt x="0" y="33"/>
                    <a:pt x="15" y="17"/>
                  </a:cubicBezTo>
                  <a:cubicBezTo>
                    <a:pt x="30" y="1"/>
                    <a:pt x="55" y="0"/>
                    <a:pt x="72" y="15"/>
                  </a:cubicBezTo>
                  <a:cubicBezTo>
                    <a:pt x="72" y="15"/>
                    <a:pt x="73" y="16"/>
                    <a:pt x="74" y="17"/>
                  </a:cubicBezTo>
                  <a:close/>
                </a:path>
              </a:pathLst>
            </a:custGeom>
            <a:solidFill>
              <a:schemeClr val="bg1">
                <a:lumMod val="6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77" name="is1ïdê"/>
            <p:cNvSpPr/>
            <p:nvPr/>
          </p:nvSpPr>
          <p:spPr bwMode="auto">
            <a:xfrm>
              <a:off x="6749860" y="2863483"/>
              <a:ext cx="263136" cy="242722"/>
            </a:xfrm>
            <a:custGeom>
              <a:avLst/>
              <a:gdLst>
                <a:gd name="T0" fmla="*/ 93 w 232"/>
                <a:gd name="T1" fmla="*/ 214 h 214"/>
                <a:gd name="T2" fmla="*/ 0 w 232"/>
                <a:gd name="T3" fmla="*/ 0 h 214"/>
                <a:gd name="T4" fmla="*/ 232 w 232"/>
                <a:gd name="T5" fmla="*/ 27 h 214"/>
                <a:gd name="T6" fmla="*/ 93 w 232"/>
                <a:gd name="T7" fmla="*/ 214 h 214"/>
              </a:gdLst>
              <a:ahLst/>
              <a:cxnLst>
                <a:cxn ang="0">
                  <a:pos x="T0" y="T1"/>
                </a:cxn>
                <a:cxn ang="0">
                  <a:pos x="T2" y="T3"/>
                </a:cxn>
                <a:cxn ang="0">
                  <a:pos x="T4" y="T5"/>
                </a:cxn>
                <a:cxn ang="0">
                  <a:pos x="T6" y="T7"/>
                </a:cxn>
              </a:cxnLst>
              <a:rect l="0" t="0" r="r" b="b"/>
              <a:pathLst>
                <a:path w="232" h="214">
                  <a:moveTo>
                    <a:pt x="93" y="214"/>
                  </a:moveTo>
                  <a:lnTo>
                    <a:pt x="0" y="0"/>
                  </a:lnTo>
                  <a:lnTo>
                    <a:pt x="232" y="27"/>
                  </a:lnTo>
                  <a:lnTo>
                    <a:pt x="93" y="214"/>
                  </a:lnTo>
                  <a:close/>
                </a:path>
              </a:pathLst>
            </a:custGeom>
            <a:solidFill>
              <a:schemeClr val="bg1">
                <a:lumMod val="6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78" name="íšļíďé"/>
            <p:cNvSpPr/>
            <p:nvPr/>
          </p:nvSpPr>
          <p:spPr bwMode="auto">
            <a:xfrm>
              <a:off x="4515466" y="2116037"/>
              <a:ext cx="283552" cy="615878"/>
            </a:xfrm>
            <a:custGeom>
              <a:avLst/>
              <a:gdLst>
                <a:gd name="T0" fmla="*/ 300 w 320"/>
                <a:gd name="T1" fmla="*/ 65 h 698"/>
                <a:gd name="T2" fmla="*/ 293 w 320"/>
                <a:gd name="T3" fmla="*/ 69 h 698"/>
                <a:gd name="T4" fmla="*/ 284 w 320"/>
                <a:gd name="T5" fmla="*/ 75 h 698"/>
                <a:gd name="T6" fmla="*/ 279 w 320"/>
                <a:gd name="T7" fmla="*/ 78 h 698"/>
                <a:gd name="T8" fmla="*/ 273 w 320"/>
                <a:gd name="T9" fmla="*/ 82 h 698"/>
                <a:gd name="T10" fmla="*/ 260 w 320"/>
                <a:gd name="T11" fmla="*/ 91 h 698"/>
                <a:gd name="T12" fmla="*/ 244 w 320"/>
                <a:gd name="T13" fmla="*/ 102 h 698"/>
                <a:gd name="T14" fmla="*/ 227 w 320"/>
                <a:gd name="T15" fmla="*/ 115 h 698"/>
                <a:gd name="T16" fmla="*/ 208 w 320"/>
                <a:gd name="T17" fmla="*/ 131 h 698"/>
                <a:gd name="T18" fmla="*/ 169 w 320"/>
                <a:gd name="T19" fmla="*/ 169 h 698"/>
                <a:gd name="T20" fmla="*/ 130 w 320"/>
                <a:gd name="T21" fmla="*/ 216 h 698"/>
                <a:gd name="T22" fmla="*/ 93 w 320"/>
                <a:gd name="T23" fmla="*/ 271 h 698"/>
                <a:gd name="T24" fmla="*/ 62 w 320"/>
                <a:gd name="T25" fmla="*/ 332 h 698"/>
                <a:gd name="T26" fmla="*/ 39 w 320"/>
                <a:gd name="T27" fmla="*/ 397 h 698"/>
                <a:gd name="T28" fmla="*/ 23 w 320"/>
                <a:gd name="T29" fmla="*/ 462 h 698"/>
                <a:gd name="T30" fmla="*/ 19 w 320"/>
                <a:gd name="T31" fmla="*/ 494 h 698"/>
                <a:gd name="T32" fmla="*/ 16 w 320"/>
                <a:gd name="T33" fmla="*/ 525 h 698"/>
                <a:gd name="T34" fmla="*/ 15 w 320"/>
                <a:gd name="T35" fmla="*/ 554 h 698"/>
                <a:gd name="T36" fmla="*/ 15 w 320"/>
                <a:gd name="T37" fmla="*/ 582 h 698"/>
                <a:gd name="T38" fmla="*/ 18 w 320"/>
                <a:gd name="T39" fmla="*/ 630 h 698"/>
                <a:gd name="T40" fmla="*/ 21 w 320"/>
                <a:gd name="T41" fmla="*/ 649 h 698"/>
                <a:gd name="T42" fmla="*/ 24 w 320"/>
                <a:gd name="T43" fmla="*/ 666 h 698"/>
                <a:gd name="T44" fmla="*/ 25 w 320"/>
                <a:gd name="T45" fmla="*/ 674 h 698"/>
                <a:gd name="T46" fmla="*/ 26 w 320"/>
                <a:gd name="T47" fmla="*/ 680 h 698"/>
                <a:gd name="T48" fmla="*/ 29 w 320"/>
                <a:gd name="T49" fmla="*/ 690 h 698"/>
                <a:gd name="T50" fmla="*/ 30 w 320"/>
                <a:gd name="T51" fmla="*/ 698 h 698"/>
                <a:gd name="T52" fmla="*/ 28 w 320"/>
                <a:gd name="T53" fmla="*/ 690 h 698"/>
                <a:gd name="T54" fmla="*/ 25 w 320"/>
                <a:gd name="T55" fmla="*/ 680 h 698"/>
                <a:gd name="T56" fmla="*/ 23 w 320"/>
                <a:gd name="T57" fmla="*/ 674 h 698"/>
                <a:gd name="T58" fmla="*/ 21 w 320"/>
                <a:gd name="T59" fmla="*/ 667 h 698"/>
                <a:gd name="T60" fmla="*/ 17 w 320"/>
                <a:gd name="T61" fmla="*/ 650 h 698"/>
                <a:gd name="T62" fmla="*/ 12 w 320"/>
                <a:gd name="T63" fmla="*/ 630 h 698"/>
                <a:gd name="T64" fmla="*/ 5 w 320"/>
                <a:gd name="T65" fmla="*/ 582 h 698"/>
                <a:gd name="T66" fmla="*/ 2 w 320"/>
                <a:gd name="T67" fmla="*/ 554 h 698"/>
                <a:gd name="T68" fmla="*/ 1 w 320"/>
                <a:gd name="T69" fmla="*/ 524 h 698"/>
                <a:gd name="T70" fmla="*/ 1 w 320"/>
                <a:gd name="T71" fmla="*/ 493 h 698"/>
                <a:gd name="T72" fmla="*/ 3 w 320"/>
                <a:gd name="T73" fmla="*/ 460 h 698"/>
                <a:gd name="T74" fmla="*/ 13 w 320"/>
                <a:gd name="T75" fmla="*/ 391 h 698"/>
                <a:gd name="T76" fmla="*/ 32 w 320"/>
                <a:gd name="T77" fmla="*/ 321 h 698"/>
                <a:gd name="T78" fmla="*/ 59 w 320"/>
                <a:gd name="T79" fmla="*/ 253 h 698"/>
                <a:gd name="T80" fmla="*/ 93 w 320"/>
                <a:gd name="T81" fmla="*/ 191 h 698"/>
                <a:gd name="T82" fmla="*/ 131 w 320"/>
                <a:gd name="T83" fmla="*/ 137 h 698"/>
                <a:gd name="T84" fmla="*/ 170 w 320"/>
                <a:gd name="T85" fmla="*/ 91 h 698"/>
                <a:gd name="T86" fmla="*/ 189 w 320"/>
                <a:gd name="T87" fmla="*/ 72 h 698"/>
                <a:gd name="T88" fmla="*/ 207 w 320"/>
                <a:gd name="T89" fmla="*/ 56 h 698"/>
                <a:gd name="T90" fmla="*/ 223 w 320"/>
                <a:gd name="T91" fmla="*/ 42 h 698"/>
                <a:gd name="T92" fmla="*/ 237 w 320"/>
                <a:gd name="T93" fmla="*/ 31 h 698"/>
                <a:gd name="T94" fmla="*/ 244 w 320"/>
                <a:gd name="T95" fmla="*/ 26 h 698"/>
                <a:gd name="T96" fmla="*/ 249 w 320"/>
                <a:gd name="T97" fmla="*/ 22 h 698"/>
                <a:gd name="T98" fmla="*/ 257 w 320"/>
                <a:gd name="T99" fmla="*/ 16 h 698"/>
                <a:gd name="T100" fmla="*/ 264 w 320"/>
                <a:gd name="T101" fmla="*/ 11 h 698"/>
                <a:gd name="T102" fmla="*/ 310 w 320"/>
                <a:gd name="T103" fmla="*/ 18 h 698"/>
                <a:gd name="T104" fmla="*/ 302 w 320"/>
                <a:gd name="T105" fmla="*/ 63 h 698"/>
                <a:gd name="T106" fmla="*/ 300 w 320"/>
                <a:gd name="T107" fmla="*/ 65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698">
                  <a:moveTo>
                    <a:pt x="300" y="65"/>
                  </a:moveTo>
                  <a:cubicBezTo>
                    <a:pt x="300" y="65"/>
                    <a:pt x="298" y="67"/>
                    <a:pt x="293" y="69"/>
                  </a:cubicBezTo>
                  <a:cubicBezTo>
                    <a:pt x="290" y="71"/>
                    <a:pt x="288" y="73"/>
                    <a:pt x="284" y="75"/>
                  </a:cubicBezTo>
                  <a:cubicBezTo>
                    <a:pt x="282" y="76"/>
                    <a:pt x="280" y="77"/>
                    <a:pt x="279" y="78"/>
                  </a:cubicBezTo>
                  <a:cubicBezTo>
                    <a:pt x="277" y="79"/>
                    <a:pt x="275" y="80"/>
                    <a:pt x="273" y="82"/>
                  </a:cubicBezTo>
                  <a:cubicBezTo>
                    <a:pt x="269" y="84"/>
                    <a:pt x="265" y="87"/>
                    <a:pt x="260" y="91"/>
                  </a:cubicBezTo>
                  <a:cubicBezTo>
                    <a:pt x="255" y="94"/>
                    <a:pt x="250" y="98"/>
                    <a:pt x="244" y="102"/>
                  </a:cubicBezTo>
                  <a:cubicBezTo>
                    <a:pt x="239" y="106"/>
                    <a:pt x="233" y="110"/>
                    <a:pt x="227" y="115"/>
                  </a:cubicBezTo>
                  <a:cubicBezTo>
                    <a:pt x="221" y="120"/>
                    <a:pt x="215" y="125"/>
                    <a:pt x="208" y="131"/>
                  </a:cubicBezTo>
                  <a:cubicBezTo>
                    <a:pt x="196" y="142"/>
                    <a:pt x="182" y="155"/>
                    <a:pt x="169" y="169"/>
                  </a:cubicBezTo>
                  <a:cubicBezTo>
                    <a:pt x="156" y="183"/>
                    <a:pt x="143" y="199"/>
                    <a:pt x="130" y="216"/>
                  </a:cubicBezTo>
                  <a:cubicBezTo>
                    <a:pt x="117" y="233"/>
                    <a:pt x="105" y="252"/>
                    <a:pt x="93" y="271"/>
                  </a:cubicBezTo>
                  <a:cubicBezTo>
                    <a:pt x="82" y="291"/>
                    <a:pt x="72" y="311"/>
                    <a:pt x="62" y="332"/>
                  </a:cubicBezTo>
                  <a:cubicBezTo>
                    <a:pt x="53" y="353"/>
                    <a:pt x="45" y="375"/>
                    <a:pt x="39" y="397"/>
                  </a:cubicBezTo>
                  <a:cubicBezTo>
                    <a:pt x="32" y="419"/>
                    <a:pt x="27" y="441"/>
                    <a:pt x="23" y="462"/>
                  </a:cubicBezTo>
                  <a:cubicBezTo>
                    <a:pt x="22" y="473"/>
                    <a:pt x="20" y="484"/>
                    <a:pt x="19" y="494"/>
                  </a:cubicBezTo>
                  <a:cubicBezTo>
                    <a:pt x="17" y="505"/>
                    <a:pt x="17" y="515"/>
                    <a:pt x="16" y="525"/>
                  </a:cubicBezTo>
                  <a:cubicBezTo>
                    <a:pt x="15" y="535"/>
                    <a:pt x="15" y="545"/>
                    <a:pt x="15" y="554"/>
                  </a:cubicBezTo>
                  <a:cubicBezTo>
                    <a:pt x="15" y="564"/>
                    <a:pt x="14" y="573"/>
                    <a:pt x="15" y="582"/>
                  </a:cubicBezTo>
                  <a:cubicBezTo>
                    <a:pt x="15" y="599"/>
                    <a:pt x="17" y="615"/>
                    <a:pt x="18" y="630"/>
                  </a:cubicBezTo>
                  <a:cubicBezTo>
                    <a:pt x="19" y="637"/>
                    <a:pt x="20" y="643"/>
                    <a:pt x="21" y="649"/>
                  </a:cubicBezTo>
                  <a:cubicBezTo>
                    <a:pt x="22" y="656"/>
                    <a:pt x="23" y="661"/>
                    <a:pt x="24" y="666"/>
                  </a:cubicBezTo>
                  <a:cubicBezTo>
                    <a:pt x="24" y="669"/>
                    <a:pt x="25" y="671"/>
                    <a:pt x="25" y="674"/>
                  </a:cubicBezTo>
                  <a:cubicBezTo>
                    <a:pt x="26" y="676"/>
                    <a:pt x="26" y="678"/>
                    <a:pt x="26" y="680"/>
                  </a:cubicBezTo>
                  <a:cubicBezTo>
                    <a:pt x="27" y="684"/>
                    <a:pt x="28" y="687"/>
                    <a:pt x="29" y="690"/>
                  </a:cubicBezTo>
                  <a:cubicBezTo>
                    <a:pt x="30" y="695"/>
                    <a:pt x="30" y="698"/>
                    <a:pt x="30" y="698"/>
                  </a:cubicBezTo>
                  <a:cubicBezTo>
                    <a:pt x="30" y="698"/>
                    <a:pt x="30" y="695"/>
                    <a:pt x="28" y="690"/>
                  </a:cubicBezTo>
                  <a:cubicBezTo>
                    <a:pt x="27" y="687"/>
                    <a:pt x="26" y="684"/>
                    <a:pt x="25" y="680"/>
                  </a:cubicBezTo>
                  <a:cubicBezTo>
                    <a:pt x="24" y="678"/>
                    <a:pt x="24" y="676"/>
                    <a:pt x="23" y="674"/>
                  </a:cubicBezTo>
                  <a:cubicBezTo>
                    <a:pt x="22" y="672"/>
                    <a:pt x="22" y="669"/>
                    <a:pt x="21" y="667"/>
                  </a:cubicBezTo>
                  <a:cubicBezTo>
                    <a:pt x="20" y="662"/>
                    <a:pt x="18" y="656"/>
                    <a:pt x="17" y="650"/>
                  </a:cubicBezTo>
                  <a:cubicBezTo>
                    <a:pt x="15" y="644"/>
                    <a:pt x="14" y="638"/>
                    <a:pt x="12" y="630"/>
                  </a:cubicBezTo>
                  <a:cubicBezTo>
                    <a:pt x="10" y="616"/>
                    <a:pt x="7" y="600"/>
                    <a:pt x="5" y="582"/>
                  </a:cubicBezTo>
                  <a:cubicBezTo>
                    <a:pt x="4" y="573"/>
                    <a:pt x="3" y="564"/>
                    <a:pt x="2" y="554"/>
                  </a:cubicBezTo>
                  <a:cubicBezTo>
                    <a:pt x="2" y="545"/>
                    <a:pt x="1" y="535"/>
                    <a:pt x="1" y="524"/>
                  </a:cubicBezTo>
                  <a:cubicBezTo>
                    <a:pt x="1" y="514"/>
                    <a:pt x="0" y="504"/>
                    <a:pt x="1" y="493"/>
                  </a:cubicBezTo>
                  <a:cubicBezTo>
                    <a:pt x="1" y="482"/>
                    <a:pt x="2" y="471"/>
                    <a:pt x="3" y="460"/>
                  </a:cubicBezTo>
                  <a:cubicBezTo>
                    <a:pt x="5" y="437"/>
                    <a:pt x="8" y="414"/>
                    <a:pt x="13" y="391"/>
                  </a:cubicBezTo>
                  <a:cubicBezTo>
                    <a:pt x="18" y="367"/>
                    <a:pt x="24" y="344"/>
                    <a:pt x="32" y="321"/>
                  </a:cubicBezTo>
                  <a:cubicBezTo>
                    <a:pt x="40" y="298"/>
                    <a:pt x="49" y="275"/>
                    <a:pt x="59" y="253"/>
                  </a:cubicBezTo>
                  <a:cubicBezTo>
                    <a:pt x="69" y="231"/>
                    <a:pt x="81" y="211"/>
                    <a:pt x="93" y="191"/>
                  </a:cubicBezTo>
                  <a:cubicBezTo>
                    <a:pt x="105" y="172"/>
                    <a:pt x="118" y="153"/>
                    <a:pt x="131" y="137"/>
                  </a:cubicBezTo>
                  <a:cubicBezTo>
                    <a:pt x="144" y="120"/>
                    <a:pt x="158" y="105"/>
                    <a:pt x="170" y="91"/>
                  </a:cubicBezTo>
                  <a:cubicBezTo>
                    <a:pt x="177" y="85"/>
                    <a:pt x="183" y="78"/>
                    <a:pt x="189" y="72"/>
                  </a:cubicBezTo>
                  <a:cubicBezTo>
                    <a:pt x="195" y="67"/>
                    <a:pt x="201" y="61"/>
                    <a:pt x="207" y="56"/>
                  </a:cubicBezTo>
                  <a:cubicBezTo>
                    <a:pt x="213" y="51"/>
                    <a:pt x="218" y="46"/>
                    <a:pt x="223" y="42"/>
                  </a:cubicBezTo>
                  <a:cubicBezTo>
                    <a:pt x="228" y="38"/>
                    <a:pt x="233" y="34"/>
                    <a:pt x="237" y="31"/>
                  </a:cubicBezTo>
                  <a:cubicBezTo>
                    <a:pt x="240" y="29"/>
                    <a:pt x="242" y="27"/>
                    <a:pt x="244" y="26"/>
                  </a:cubicBezTo>
                  <a:cubicBezTo>
                    <a:pt x="246" y="24"/>
                    <a:pt x="247" y="23"/>
                    <a:pt x="249" y="22"/>
                  </a:cubicBezTo>
                  <a:cubicBezTo>
                    <a:pt x="252" y="19"/>
                    <a:pt x="255" y="17"/>
                    <a:pt x="257" y="16"/>
                  </a:cubicBezTo>
                  <a:cubicBezTo>
                    <a:pt x="262" y="13"/>
                    <a:pt x="264" y="11"/>
                    <a:pt x="264" y="11"/>
                  </a:cubicBezTo>
                  <a:cubicBezTo>
                    <a:pt x="279" y="0"/>
                    <a:pt x="299" y="3"/>
                    <a:pt x="310" y="18"/>
                  </a:cubicBezTo>
                  <a:cubicBezTo>
                    <a:pt x="320" y="32"/>
                    <a:pt x="317" y="53"/>
                    <a:pt x="302" y="63"/>
                  </a:cubicBezTo>
                  <a:cubicBezTo>
                    <a:pt x="302" y="64"/>
                    <a:pt x="301" y="65"/>
                    <a:pt x="300" y="65"/>
                  </a:cubicBezTo>
                  <a:close/>
                </a:path>
              </a:pathLst>
            </a:custGeom>
            <a:solidFill>
              <a:schemeClr val="bg1">
                <a:lumMod val="65000"/>
              </a:schemeClr>
            </a:solidFill>
            <a:ln>
              <a:noFill/>
            </a:ln>
          </p:spPr>
          <p:txBody>
            <a:bodyPr vert="horz" wrap="square" lIns="91440" tIns="45720" rIns="91440" bIns="45720" numCol="1" anchor="t" anchorCtr="0" compatLnSpc="1">
              <a:normAutofit lnSpcReduction="10000"/>
            </a:bodyPr>
            <a:lstStyle/>
            <a:p>
              <a:endParaRPr lang="en-US" sz="3600">
                <a:cs typeface="+mn-ea"/>
                <a:sym typeface="+mn-lt"/>
              </a:endParaRPr>
            </a:p>
          </p:txBody>
        </p:sp>
        <p:sp>
          <p:nvSpPr>
            <p:cNvPr id="179" name="íşḷídé"/>
            <p:cNvSpPr/>
            <p:nvPr/>
          </p:nvSpPr>
          <p:spPr bwMode="auto">
            <a:xfrm>
              <a:off x="4693536" y="2069535"/>
              <a:ext cx="210962" cy="191683"/>
            </a:xfrm>
            <a:custGeom>
              <a:avLst/>
              <a:gdLst>
                <a:gd name="T0" fmla="*/ 0 w 186"/>
                <a:gd name="T1" fmla="*/ 0 h 169"/>
                <a:gd name="T2" fmla="*/ 186 w 186"/>
                <a:gd name="T3" fmla="*/ 16 h 169"/>
                <a:gd name="T4" fmla="*/ 80 w 186"/>
                <a:gd name="T5" fmla="*/ 169 h 169"/>
                <a:gd name="T6" fmla="*/ 0 w 186"/>
                <a:gd name="T7" fmla="*/ 0 h 169"/>
              </a:gdLst>
              <a:ahLst/>
              <a:cxnLst>
                <a:cxn ang="0">
                  <a:pos x="T0" y="T1"/>
                </a:cxn>
                <a:cxn ang="0">
                  <a:pos x="T2" y="T3"/>
                </a:cxn>
                <a:cxn ang="0">
                  <a:pos x="T4" y="T5"/>
                </a:cxn>
                <a:cxn ang="0">
                  <a:pos x="T6" y="T7"/>
                </a:cxn>
              </a:cxnLst>
              <a:rect l="0" t="0" r="r" b="b"/>
              <a:pathLst>
                <a:path w="186" h="169">
                  <a:moveTo>
                    <a:pt x="0" y="0"/>
                  </a:moveTo>
                  <a:lnTo>
                    <a:pt x="186" y="16"/>
                  </a:lnTo>
                  <a:lnTo>
                    <a:pt x="80" y="169"/>
                  </a:lnTo>
                  <a:lnTo>
                    <a:pt x="0"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0" name="isļîḍê"/>
            <p:cNvSpPr/>
            <p:nvPr/>
          </p:nvSpPr>
          <p:spPr bwMode="auto">
            <a:xfrm>
              <a:off x="6081810" y="5127371"/>
              <a:ext cx="69186" cy="175803"/>
            </a:xfrm>
            <a:custGeom>
              <a:avLst/>
              <a:gdLst>
                <a:gd name="T0" fmla="*/ 50 w 78"/>
                <a:gd name="T1" fmla="*/ 193 h 200"/>
                <a:gd name="T2" fmla="*/ 44 w 78"/>
                <a:gd name="T3" fmla="*/ 187 h 200"/>
                <a:gd name="T4" fmla="*/ 41 w 78"/>
                <a:gd name="T5" fmla="*/ 183 h 200"/>
                <a:gd name="T6" fmla="*/ 38 w 78"/>
                <a:gd name="T7" fmla="*/ 178 h 200"/>
                <a:gd name="T8" fmla="*/ 34 w 78"/>
                <a:gd name="T9" fmla="*/ 173 h 200"/>
                <a:gd name="T10" fmla="*/ 30 w 78"/>
                <a:gd name="T11" fmla="*/ 167 h 200"/>
                <a:gd name="T12" fmla="*/ 22 w 78"/>
                <a:gd name="T13" fmla="*/ 153 h 200"/>
                <a:gd name="T14" fmla="*/ 18 w 78"/>
                <a:gd name="T15" fmla="*/ 145 h 200"/>
                <a:gd name="T16" fmla="*/ 15 w 78"/>
                <a:gd name="T17" fmla="*/ 137 h 200"/>
                <a:gd name="T18" fmla="*/ 11 w 78"/>
                <a:gd name="T19" fmla="*/ 128 h 200"/>
                <a:gd name="T20" fmla="*/ 9 w 78"/>
                <a:gd name="T21" fmla="*/ 119 h 200"/>
                <a:gd name="T22" fmla="*/ 7 w 78"/>
                <a:gd name="T23" fmla="*/ 114 h 200"/>
                <a:gd name="T24" fmla="*/ 6 w 78"/>
                <a:gd name="T25" fmla="*/ 110 h 200"/>
                <a:gd name="T26" fmla="*/ 4 w 78"/>
                <a:gd name="T27" fmla="*/ 100 h 200"/>
                <a:gd name="T28" fmla="*/ 2 w 78"/>
                <a:gd name="T29" fmla="*/ 91 h 200"/>
                <a:gd name="T30" fmla="*/ 1 w 78"/>
                <a:gd name="T31" fmla="*/ 81 h 200"/>
                <a:gd name="T32" fmla="*/ 1 w 78"/>
                <a:gd name="T33" fmla="*/ 76 h 200"/>
                <a:gd name="T34" fmla="*/ 1 w 78"/>
                <a:gd name="T35" fmla="*/ 72 h 200"/>
                <a:gd name="T36" fmla="*/ 0 w 78"/>
                <a:gd name="T37" fmla="*/ 63 h 200"/>
                <a:gd name="T38" fmla="*/ 1 w 78"/>
                <a:gd name="T39" fmla="*/ 46 h 200"/>
                <a:gd name="T40" fmla="*/ 2 w 78"/>
                <a:gd name="T41" fmla="*/ 38 h 200"/>
                <a:gd name="T42" fmla="*/ 3 w 78"/>
                <a:gd name="T43" fmla="*/ 30 h 200"/>
                <a:gd name="T44" fmla="*/ 6 w 78"/>
                <a:gd name="T45" fmla="*/ 18 h 200"/>
                <a:gd name="T46" fmla="*/ 7 w 78"/>
                <a:gd name="T47" fmla="*/ 13 h 200"/>
                <a:gd name="T48" fmla="*/ 9 w 78"/>
                <a:gd name="T49" fmla="*/ 8 h 200"/>
                <a:gd name="T50" fmla="*/ 11 w 78"/>
                <a:gd name="T51" fmla="*/ 0 h 200"/>
                <a:gd name="T52" fmla="*/ 10 w 78"/>
                <a:gd name="T53" fmla="*/ 9 h 200"/>
                <a:gd name="T54" fmla="*/ 9 w 78"/>
                <a:gd name="T55" fmla="*/ 13 h 200"/>
                <a:gd name="T56" fmla="*/ 9 w 78"/>
                <a:gd name="T57" fmla="*/ 18 h 200"/>
                <a:gd name="T58" fmla="*/ 8 w 78"/>
                <a:gd name="T59" fmla="*/ 31 h 200"/>
                <a:gd name="T60" fmla="*/ 8 w 78"/>
                <a:gd name="T61" fmla="*/ 38 h 200"/>
                <a:gd name="T62" fmla="*/ 8 w 78"/>
                <a:gd name="T63" fmla="*/ 46 h 200"/>
                <a:gd name="T64" fmla="*/ 10 w 78"/>
                <a:gd name="T65" fmla="*/ 62 h 200"/>
                <a:gd name="T66" fmla="*/ 11 w 78"/>
                <a:gd name="T67" fmla="*/ 71 h 200"/>
                <a:gd name="T68" fmla="*/ 12 w 78"/>
                <a:gd name="T69" fmla="*/ 75 h 200"/>
                <a:gd name="T70" fmla="*/ 13 w 78"/>
                <a:gd name="T71" fmla="*/ 79 h 200"/>
                <a:gd name="T72" fmla="*/ 15 w 78"/>
                <a:gd name="T73" fmla="*/ 88 h 200"/>
                <a:gd name="T74" fmla="*/ 18 w 78"/>
                <a:gd name="T75" fmla="*/ 96 h 200"/>
                <a:gd name="T76" fmla="*/ 21 w 78"/>
                <a:gd name="T77" fmla="*/ 105 h 200"/>
                <a:gd name="T78" fmla="*/ 23 w 78"/>
                <a:gd name="T79" fmla="*/ 109 h 200"/>
                <a:gd name="T80" fmla="*/ 25 w 78"/>
                <a:gd name="T81" fmla="*/ 113 h 200"/>
                <a:gd name="T82" fmla="*/ 29 w 78"/>
                <a:gd name="T83" fmla="*/ 120 h 200"/>
                <a:gd name="T84" fmla="*/ 33 w 78"/>
                <a:gd name="T85" fmla="*/ 128 h 200"/>
                <a:gd name="T86" fmla="*/ 37 w 78"/>
                <a:gd name="T87" fmla="*/ 135 h 200"/>
                <a:gd name="T88" fmla="*/ 42 w 78"/>
                <a:gd name="T89" fmla="*/ 141 h 200"/>
                <a:gd name="T90" fmla="*/ 50 w 78"/>
                <a:gd name="T91" fmla="*/ 152 h 200"/>
                <a:gd name="T92" fmla="*/ 54 w 78"/>
                <a:gd name="T93" fmla="*/ 157 h 200"/>
                <a:gd name="T94" fmla="*/ 58 w 78"/>
                <a:gd name="T95" fmla="*/ 161 h 200"/>
                <a:gd name="T96" fmla="*/ 62 w 78"/>
                <a:gd name="T97" fmla="*/ 164 h 200"/>
                <a:gd name="T98" fmla="*/ 65 w 78"/>
                <a:gd name="T99" fmla="*/ 167 h 200"/>
                <a:gd name="T100" fmla="*/ 71 w 78"/>
                <a:gd name="T101" fmla="*/ 173 h 200"/>
                <a:gd name="T102" fmla="*/ 72 w 78"/>
                <a:gd name="T103" fmla="*/ 194 h 200"/>
                <a:gd name="T104" fmla="*/ 51 w 78"/>
                <a:gd name="T105" fmla="*/ 195 h 200"/>
                <a:gd name="T106" fmla="*/ 50 w 78"/>
                <a:gd name="T107" fmla="*/ 1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200">
                  <a:moveTo>
                    <a:pt x="50" y="193"/>
                  </a:moveTo>
                  <a:cubicBezTo>
                    <a:pt x="50" y="193"/>
                    <a:pt x="48" y="191"/>
                    <a:pt x="44" y="187"/>
                  </a:cubicBezTo>
                  <a:cubicBezTo>
                    <a:pt x="43" y="185"/>
                    <a:pt x="42" y="184"/>
                    <a:pt x="41" y="183"/>
                  </a:cubicBezTo>
                  <a:cubicBezTo>
                    <a:pt x="40" y="181"/>
                    <a:pt x="39" y="180"/>
                    <a:pt x="38" y="178"/>
                  </a:cubicBezTo>
                  <a:cubicBezTo>
                    <a:pt x="37" y="177"/>
                    <a:pt x="35" y="175"/>
                    <a:pt x="34" y="173"/>
                  </a:cubicBezTo>
                  <a:cubicBezTo>
                    <a:pt x="33" y="171"/>
                    <a:pt x="31" y="169"/>
                    <a:pt x="30" y="167"/>
                  </a:cubicBezTo>
                  <a:cubicBezTo>
                    <a:pt x="27" y="163"/>
                    <a:pt x="25" y="158"/>
                    <a:pt x="22" y="153"/>
                  </a:cubicBezTo>
                  <a:cubicBezTo>
                    <a:pt x="21" y="150"/>
                    <a:pt x="20" y="148"/>
                    <a:pt x="18" y="145"/>
                  </a:cubicBezTo>
                  <a:cubicBezTo>
                    <a:pt x="17" y="142"/>
                    <a:pt x="16" y="140"/>
                    <a:pt x="15" y="137"/>
                  </a:cubicBezTo>
                  <a:cubicBezTo>
                    <a:pt x="14" y="134"/>
                    <a:pt x="13" y="131"/>
                    <a:pt x="11" y="128"/>
                  </a:cubicBezTo>
                  <a:cubicBezTo>
                    <a:pt x="10" y="125"/>
                    <a:pt x="10" y="122"/>
                    <a:pt x="9" y="119"/>
                  </a:cubicBezTo>
                  <a:cubicBezTo>
                    <a:pt x="7" y="114"/>
                    <a:pt x="7" y="114"/>
                    <a:pt x="7" y="114"/>
                  </a:cubicBezTo>
                  <a:cubicBezTo>
                    <a:pt x="6" y="110"/>
                    <a:pt x="6" y="110"/>
                    <a:pt x="6" y="110"/>
                  </a:cubicBezTo>
                  <a:cubicBezTo>
                    <a:pt x="5" y="106"/>
                    <a:pt x="4" y="103"/>
                    <a:pt x="4" y="100"/>
                  </a:cubicBezTo>
                  <a:cubicBezTo>
                    <a:pt x="3" y="97"/>
                    <a:pt x="3" y="94"/>
                    <a:pt x="2" y="91"/>
                  </a:cubicBezTo>
                  <a:cubicBezTo>
                    <a:pt x="2" y="87"/>
                    <a:pt x="2" y="84"/>
                    <a:pt x="1" y="81"/>
                  </a:cubicBezTo>
                  <a:cubicBezTo>
                    <a:pt x="1" y="80"/>
                    <a:pt x="1" y="78"/>
                    <a:pt x="1" y="76"/>
                  </a:cubicBezTo>
                  <a:cubicBezTo>
                    <a:pt x="1" y="75"/>
                    <a:pt x="1" y="73"/>
                    <a:pt x="1" y="72"/>
                  </a:cubicBezTo>
                  <a:cubicBezTo>
                    <a:pt x="1" y="69"/>
                    <a:pt x="0" y="66"/>
                    <a:pt x="0" y="63"/>
                  </a:cubicBezTo>
                  <a:cubicBezTo>
                    <a:pt x="1" y="57"/>
                    <a:pt x="1" y="51"/>
                    <a:pt x="1" y="46"/>
                  </a:cubicBezTo>
                  <a:cubicBezTo>
                    <a:pt x="2" y="43"/>
                    <a:pt x="2" y="40"/>
                    <a:pt x="2" y="38"/>
                  </a:cubicBezTo>
                  <a:cubicBezTo>
                    <a:pt x="3" y="35"/>
                    <a:pt x="3" y="33"/>
                    <a:pt x="3" y="30"/>
                  </a:cubicBezTo>
                  <a:cubicBezTo>
                    <a:pt x="4" y="26"/>
                    <a:pt x="5" y="22"/>
                    <a:pt x="6" y="18"/>
                  </a:cubicBezTo>
                  <a:cubicBezTo>
                    <a:pt x="6" y="16"/>
                    <a:pt x="7" y="14"/>
                    <a:pt x="7" y="13"/>
                  </a:cubicBezTo>
                  <a:cubicBezTo>
                    <a:pt x="8" y="11"/>
                    <a:pt x="8" y="10"/>
                    <a:pt x="9" y="8"/>
                  </a:cubicBezTo>
                  <a:cubicBezTo>
                    <a:pt x="10" y="3"/>
                    <a:pt x="11" y="0"/>
                    <a:pt x="11" y="0"/>
                  </a:cubicBezTo>
                  <a:cubicBezTo>
                    <a:pt x="11" y="0"/>
                    <a:pt x="11" y="3"/>
                    <a:pt x="10" y="9"/>
                  </a:cubicBezTo>
                  <a:cubicBezTo>
                    <a:pt x="10" y="10"/>
                    <a:pt x="9" y="11"/>
                    <a:pt x="9" y="13"/>
                  </a:cubicBezTo>
                  <a:cubicBezTo>
                    <a:pt x="9" y="15"/>
                    <a:pt x="9" y="16"/>
                    <a:pt x="9" y="18"/>
                  </a:cubicBezTo>
                  <a:cubicBezTo>
                    <a:pt x="8" y="22"/>
                    <a:pt x="8" y="26"/>
                    <a:pt x="8" y="31"/>
                  </a:cubicBezTo>
                  <a:cubicBezTo>
                    <a:pt x="8" y="33"/>
                    <a:pt x="8" y="36"/>
                    <a:pt x="8" y="38"/>
                  </a:cubicBezTo>
                  <a:cubicBezTo>
                    <a:pt x="8" y="41"/>
                    <a:pt x="8" y="43"/>
                    <a:pt x="8" y="46"/>
                  </a:cubicBezTo>
                  <a:cubicBezTo>
                    <a:pt x="8" y="51"/>
                    <a:pt x="9" y="56"/>
                    <a:pt x="10" y="62"/>
                  </a:cubicBezTo>
                  <a:cubicBezTo>
                    <a:pt x="10" y="65"/>
                    <a:pt x="11" y="68"/>
                    <a:pt x="11" y="71"/>
                  </a:cubicBezTo>
                  <a:cubicBezTo>
                    <a:pt x="11" y="72"/>
                    <a:pt x="12" y="73"/>
                    <a:pt x="12" y="75"/>
                  </a:cubicBezTo>
                  <a:cubicBezTo>
                    <a:pt x="13" y="79"/>
                    <a:pt x="13" y="79"/>
                    <a:pt x="13" y="79"/>
                  </a:cubicBezTo>
                  <a:cubicBezTo>
                    <a:pt x="14" y="82"/>
                    <a:pt x="14" y="85"/>
                    <a:pt x="15" y="88"/>
                  </a:cubicBezTo>
                  <a:cubicBezTo>
                    <a:pt x="16" y="91"/>
                    <a:pt x="17" y="93"/>
                    <a:pt x="18" y="96"/>
                  </a:cubicBezTo>
                  <a:cubicBezTo>
                    <a:pt x="19" y="99"/>
                    <a:pt x="20" y="102"/>
                    <a:pt x="21" y="105"/>
                  </a:cubicBezTo>
                  <a:cubicBezTo>
                    <a:pt x="23" y="109"/>
                    <a:pt x="23" y="109"/>
                    <a:pt x="23" y="109"/>
                  </a:cubicBezTo>
                  <a:cubicBezTo>
                    <a:pt x="25" y="113"/>
                    <a:pt x="25" y="113"/>
                    <a:pt x="25" y="113"/>
                  </a:cubicBezTo>
                  <a:cubicBezTo>
                    <a:pt x="26" y="115"/>
                    <a:pt x="27" y="118"/>
                    <a:pt x="29" y="120"/>
                  </a:cubicBezTo>
                  <a:cubicBezTo>
                    <a:pt x="30" y="123"/>
                    <a:pt x="32" y="125"/>
                    <a:pt x="33" y="128"/>
                  </a:cubicBezTo>
                  <a:cubicBezTo>
                    <a:pt x="34" y="130"/>
                    <a:pt x="36" y="132"/>
                    <a:pt x="37" y="135"/>
                  </a:cubicBezTo>
                  <a:cubicBezTo>
                    <a:pt x="39" y="137"/>
                    <a:pt x="40" y="139"/>
                    <a:pt x="42" y="141"/>
                  </a:cubicBezTo>
                  <a:cubicBezTo>
                    <a:pt x="45" y="145"/>
                    <a:pt x="47" y="149"/>
                    <a:pt x="50" y="152"/>
                  </a:cubicBezTo>
                  <a:cubicBezTo>
                    <a:pt x="52" y="154"/>
                    <a:pt x="53" y="155"/>
                    <a:pt x="54" y="157"/>
                  </a:cubicBezTo>
                  <a:cubicBezTo>
                    <a:pt x="56" y="158"/>
                    <a:pt x="57" y="159"/>
                    <a:pt x="58" y="161"/>
                  </a:cubicBezTo>
                  <a:cubicBezTo>
                    <a:pt x="59" y="162"/>
                    <a:pt x="61" y="163"/>
                    <a:pt x="62" y="164"/>
                  </a:cubicBezTo>
                  <a:cubicBezTo>
                    <a:pt x="63" y="165"/>
                    <a:pt x="64" y="166"/>
                    <a:pt x="65" y="167"/>
                  </a:cubicBezTo>
                  <a:cubicBezTo>
                    <a:pt x="69" y="171"/>
                    <a:pt x="71" y="173"/>
                    <a:pt x="71" y="173"/>
                  </a:cubicBezTo>
                  <a:cubicBezTo>
                    <a:pt x="77" y="178"/>
                    <a:pt x="78" y="188"/>
                    <a:pt x="72" y="194"/>
                  </a:cubicBezTo>
                  <a:cubicBezTo>
                    <a:pt x="67" y="200"/>
                    <a:pt x="57" y="200"/>
                    <a:pt x="51" y="195"/>
                  </a:cubicBezTo>
                  <a:cubicBezTo>
                    <a:pt x="51" y="194"/>
                    <a:pt x="50" y="194"/>
                    <a:pt x="50" y="193"/>
                  </a:cubicBez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1" name="îṣ1iḋè"/>
            <p:cNvSpPr/>
            <p:nvPr/>
          </p:nvSpPr>
          <p:spPr bwMode="auto">
            <a:xfrm>
              <a:off x="6092018" y="5227182"/>
              <a:ext cx="115690" cy="103214"/>
            </a:xfrm>
            <a:custGeom>
              <a:avLst/>
              <a:gdLst>
                <a:gd name="T0" fmla="*/ 54 w 102"/>
                <a:gd name="T1" fmla="*/ 0 h 91"/>
                <a:gd name="T2" fmla="*/ 102 w 102"/>
                <a:gd name="T3" fmla="*/ 91 h 91"/>
                <a:gd name="T4" fmla="*/ 0 w 102"/>
                <a:gd name="T5" fmla="*/ 87 h 91"/>
                <a:gd name="T6" fmla="*/ 54 w 102"/>
                <a:gd name="T7" fmla="*/ 0 h 91"/>
              </a:gdLst>
              <a:ahLst/>
              <a:cxnLst>
                <a:cxn ang="0">
                  <a:pos x="T0" y="T1"/>
                </a:cxn>
                <a:cxn ang="0">
                  <a:pos x="T2" y="T3"/>
                </a:cxn>
                <a:cxn ang="0">
                  <a:pos x="T4" y="T5"/>
                </a:cxn>
                <a:cxn ang="0">
                  <a:pos x="T6" y="T7"/>
                </a:cxn>
              </a:cxnLst>
              <a:rect l="0" t="0" r="r" b="b"/>
              <a:pathLst>
                <a:path w="102" h="91">
                  <a:moveTo>
                    <a:pt x="54" y="0"/>
                  </a:moveTo>
                  <a:lnTo>
                    <a:pt x="102" y="91"/>
                  </a:lnTo>
                  <a:lnTo>
                    <a:pt x="0" y="87"/>
                  </a:lnTo>
                  <a:lnTo>
                    <a:pt x="54"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2" name="ís1íḍé"/>
            <p:cNvSpPr/>
            <p:nvPr/>
          </p:nvSpPr>
          <p:spPr bwMode="auto">
            <a:xfrm>
              <a:off x="7059499" y="2110367"/>
              <a:ext cx="85066" cy="193950"/>
            </a:xfrm>
            <a:custGeom>
              <a:avLst/>
              <a:gdLst>
                <a:gd name="T0" fmla="*/ 4 w 96"/>
                <a:gd name="T1" fmla="*/ 0 h 220"/>
                <a:gd name="T2" fmla="*/ 12 w 96"/>
                <a:gd name="T3" fmla="*/ 5 h 220"/>
                <a:gd name="T4" fmla="*/ 16 w 96"/>
                <a:gd name="T5" fmla="*/ 8 h 220"/>
                <a:gd name="T6" fmla="*/ 21 w 96"/>
                <a:gd name="T7" fmla="*/ 11 h 220"/>
                <a:gd name="T8" fmla="*/ 32 w 96"/>
                <a:gd name="T9" fmla="*/ 21 h 220"/>
                <a:gd name="T10" fmla="*/ 38 w 96"/>
                <a:gd name="T11" fmla="*/ 26 h 220"/>
                <a:gd name="T12" fmla="*/ 44 w 96"/>
                <a:gd name="T13" fmla="*/ 33 h 220"/>
                <a:gd name="T14" fmla="*/ 57 w 96"/>
                <a:gd name="T15" fmla="*/ 48 h 220"/>
                <a:gd name="T16" fmla="*/ 63 w 96"/>
                <a:gd name="T17" fmla="*/ 56 h 220"/>
                <a:gd name="T18" fmla="*/ 66 w 96"/>
                <a:gd name="T19" fmla="*/ 61 h 220"/>
                <a:gd name="T20" fmla="*/ 68 w 96"/>
                <a:gd name="T21" fmla="*/ 65 h 220"/>
                <a:gd name="T22" fmla="*/ 74 w 96"/>
                <a:gd name="T23" fmla="*/ 75 h 220"/>
                <a:gd name="T24" fmla="*/ 78 w 96"/>
                <a:gd name="T25" fmla="*/ 85 h 220"/>
                <a:gd name="T26" fmla="*/ 82 w 96"/>
                <a:gd name="T27" fmla="*/ 95 h 220"/>
                <a:gd name="T28" fmla="*/ 84 w 96"/>
                <a:gd name="T29" fmla="*/ 100 h 220"/>
                <a:gd name="T30" fmla="*/ 86 w 96"/>
                <a:gd name="T31" fmla="*/ 105 h 220"/>
                <a:gd name="T32" fmla="*/ 89 w 96"/>
                <a:gd name="T33" fmla="*/ 116 h 220"/>
                <a:gd name="T34" fmla="*/ 91 w 96"/>
                <a:gd name="T35" fmla="*/ 126 h 220"/>
                <a:gd name="T36" fmla="*/ 93 w 96"/>
                <a:gd name="T37" fmla="*/ 136 h 220"/>
                <a:gd name="T38" fmla="*/ 94 w 96"/>
                <a:gd name="T39" fmla="*/ 146 h 220"/>
                <a:gd name="T40" fmla="*/ 95 w 96"/>
                <a:gd name="T41" fmla="*/ 156 h 220"/>
                <a:gd name="T42" fmla="*/ 96 w 96"/>
                <a:gd name="T43" fmla="*/ 164 h 220"/>
                <a:gd name="T44" fmla="*/ 96 w 96"/>
                <a:gd name="T45" fmla="*/ 173 h 220"/>
                <a:gd name="T46" fmla="*/ 95 w 96"/>
                <a:gd name="T47" fmla="*/ 180 h 220"/>
                <a:gd name="T48" fmla="*/ 93 w 96"/>
                <a:gd name="T49" fmla="*/ 192 h 220"/>
                <a:gd name="T50" fmla="*/ 90 w 96"/>
                <a:gd name="T51" fmla="*/ 202 h 220"/>
                <a:gd name="T52" fmla="*/ 62 w 96"/>
                <a:gd name="T53" fmla="*/ 216 h 220"/>
                <a:gd name="T54" fmla="*/ 47 w 96"/>
                <a:gd name="T55" fmla="*/ 193 h 220"/>
                <a:gd name="T56" fmla="*/ 47 w 96"/>
                <a:gd name="T57" fmla="*/ 191 h 220"/>
                <a:gd name="T58" fmla="*/ 48 w 96"/>
                <a:gd name="T59" fmla="*/ 183 h 220"/>
                <a:gd name="T60" fmla="*/ 49 w 96"/>
                <a:gd name="T61" fmla="*/ 179 h 220"/>
                <a:gd name="T62" fmla="*/ 50 w 96"/>
                <a:gd name="T63" fmla="*/ 174 h 220"/>
                <a:gd name="T64" fmla="*/ 51 w 96"/>
                <a:gd name="T65" fmla="*/ 168 h 220"/>
                <a:gd name="T66" fmla="*/ 52 w 96"/>
                <a:gd name="T67" fmla="*/ 161 h 220"/>
                <a:gd name="T68" fmla="*/ 55 w 96"/>
                <a:gd name="T69" fmla="*/ 147 h 220"/>
                <a:gd name="T70" fmla="*/ 56 w 96"/>
                <a:gd name="T71" fmla="*/ 130 h 220"/>
                <a:gd name="T72" fmla="*/ 55 w 96"/>
                <a:gd name="T73" fmla="*/ 121 h 220"/>
                <a:gd name="T74" fmla="*/ 54 w 96"/>
                <a:gd name="T75" fmla="*/ 112 h 220"/>
                <a:gd name="T76" fmla="*/ 54 w 96"/>
                <a:gd name="T77" fmla="*/ 108 h 220"/>
                <a:gd name="T78" fmla="*/ 53 w 96"/>
                <a:gd name="T79" fmla="*/ 103 h 220"/>
                <a:gd name="T80" fmla="*/ 51 w 96"/>
                <a:gd name="T81" fmla="*/ 94 h 220"/>
                <a:gd name="T82" fmla="*/ 49 w 96"/>
                <a:gd name="T83" fmla="*/ 85 h 220"/>
                <a:gd name="T84" fmla="*/ 46 w 96"/>
                <a:gd name="T85" fmla="*/ 76 h 220"/>
                <a:gd name="T86" fmla="*/ 44 w 96"/>
                <a:gd name="T87" fmla="*/ 71 h 220"/>
                <a:gd name="T88" fmla="*/ 42 w 96"/>
                <a:gd name="T89" fmla="*/ 67 h 220"/>
                <a:gd name="T90" fmla="*/ 39 w 96"/>
                <a:gd name="T91" fmla="*/ 58 h 220"/>
                <a:gd name="T92" fmla="*/ 31 w 96"/>
                <a:gd name="T93" fmla="*/ 43 h 220"/>
                <a:gd name="T94" fmla="*/ 27 w 96"/>
                <a:gd name="T95" fmla="*/ 36 h 220"/>
                <a:gd name="T96" fmla="*/ 22 w 96"/>
                <a:gd name="T97" fmla="*/ 29 h 220"/>
                <a:gd name="T98" fmla="*/ 14 w 96"/>
                <a:gd name="T99" fmla="*/ 19 h 220"/>
                <a:gd name="T100" fmla="*/ 11 w 96"/>
                <a:gd name="T101" fmla="*/ 14 h 220"/>
                <a:gd name="T102" fmla="*/ 7 w 96"/>
                <a:gd name="T103" fmla="*/ 11 h 220"/>
                <a:gd name="T104" fmla="*/ 1 w 96"/>
                <a:gd name="T105" fmla="*/ 4 h 220"/>
                <a:gd name="T106" fmla="*/ 1 w 96"/>
                <a:gd name="T107" fmla="*/ 0 h 220"/>
                <a:gd name="T108" fmla="*/ 4 w 96"/>
                <a:gd name="T10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220">
                  <a:moveTo>
                    <a:pt x="4" y="0"/>
                  </a:moveTo>
                  <a:cubicBezTo>
                    <a:pt x="4" y="0"/>
                    <a:pt x="7" y="2"/>
                    <a:pt x="12" y="5"/>
                  </a:cubicBezTo>
                  <a:cubicBezTo>
                    <a:pt x="13" y="6"/>
                    <a:pt x="14" y="7"/>
                    <a:pt x="16" y="8"/>
                  </a:cubicBezTo>
                  <a:cubicBezTo>
                    <a:pt x="17" y="9"/>
                    <a:pt x="19" y="10"/>
                    <a:pt x="21" y="11"/>
                  </a:cubicBezTo>
                  <a:cubicBezTo>
                    <a:pt x="24" y="14"/>
                    <a:pt x="28" y="17"/>
                    <a:pt x="32" y="21"/>
                  </a:cubicBezTo>
                  <a:cubicBezTo>
                    <a:pt x="34" y="23"/>
                    <a:pt x="36" y="24"/>
                    <a:pt x="38" y="26"/>
                  </a:cubicBezTo>
                  <a:cubicBezTo>
                    <a:pt x="40" y="28"/>
                    <a:pt x="42" y="31"/>
                    <a:pt x="44" y="33"/>
                  </a:cubicBezTo>
                  <a:cubicBezTo>
                    <a:pt x="49" y="37"/>
                    <a:pt x="52" y="42"/>
                    <a:pt x="57" y="48"/>
                  </a:cubicBezTo>
                  <a:cubicBezTo>
                    <a:pt x="59" y="50"/>
                    <a:pt x="61" y="53"/>
                    <a:pt x="63" y="56"/>
                  </a:cubicBezTo>
                  <a:cubicBezTo>
                    <a:pt x="64" y="58"/>
                    <a:pt x="65" y="59"/>
                    <a:pt x="66" y="61"/>
                  </a:cubicBezTo>
                  <a:cubicBezTo>
                    <a:pt x="67" y="62"/>
                    <a:pt x="67" y="64"/>
                    <a:pt x="68" y="65"/>
                  </a:cubicBezTo>
                  <a:cubicBezTo>
                    <a:pt x="70" y="68"/>
                    <a:pt x="72" y="71"/>
                    <a:pt x="74" y="75"/>
                  </a:cubicBezTo>
                  <a:cubicBezTo>
                    <a:pt x="75" y="78"/>
                    <a:pt x="77" y="81"/>
                    <a:pt x="78" y="85"/>
                  </a:cubicBezTo>
                  <a:cubicBezTo>
                    <a:pt x="80" y="88"/>
                    <a:pt x="81" y="91"/>
                    <a:pt x="82" y="95"/>
                  </a:cubicBezTo>
                  <a:cubicBezTo>
                    <a:pt x="83" y="97"/>
                    <a:pt x="84" y="98"/>
                    <a:pt x="84" y="100"/>
                  </a:cubicBezTo>
                  <a:cubicBezTo>
                    <a:pt x="86" y="105"/>
                    <a:pt x="86" y="105"/>
                    <a:pt x="86" y="105"/>
                  </a:cubicBezTo>
                  <a:cubicBezTo>
                    <a:pt x="87" y="109"/>
                    <a:pt x="88" y="112"/>
                    <a:pt x="89" y="116"/>
                  </a:cubicBezTo>
                  <a:cubicBezTo>
                    <a:pt x="89" y="119"/>
                    <a:pt x="90" y="123"/>
                    <a:pt x="91" y="126"/>
                  </a:cubicBezTo>
                  <a:cubicBezTo>
                    <a:pt x="92" y="130"/>
                    <a:pt x="92" y="133"/>
                    <a:pt x="93" y="136"/>
                  </a:cubicBezTo>
                  <a:cubicBezTo>
                    <a:pt x="93" y="140"/>
                    <a:pt x="94" y="143"/>
                    <a:pt x="94" y="146"/>
                  </a:cubicBezTo>
                  <a:cubicBezTo>
                    <a:pt x="95" y="149"/>
                    <a:pt x="95" y="153"/>
                    <a:pt x="95" y="156"/>
                  </a:cubicBezTo>
                  <a:cubicBezTo>
                    <a:pt x="96" y="159"/>
                    <a:pt x="96" y="162"/>
                    <a:pt x="96" y="164"/>
                  </a:cubicBezTo>
                  <a:cubicBezTo>
                    <a:pt x="96" y="167"/>
                    <a:pt x="96" y="170"/>
                    <a:pt x="96" y="173"/>
                  </a:cubicBezTo>
                  <a:cubicBezTo>
                    <a:pt x="96" y="175"/>
                    <a:pt x="95" y="178"/>
                    <a:pt x="95" y="180"/>
                  </a:cubicBezTo>
                  <a:cubicBezTo>
                    <a:pt x="95" y="185"/>
                    <a:pt x="94" y="189"/>
                    <a:pt x="93" y="192"/>
                  </a:cubicBezTo>
                  <a:cubicBezTo>
                    <a:pt x="92" y="198"/>
                    <a:pt x="90" y="202"/>
                    <a:pt x="90" y="202"/>
                  </a:cubicBezTo>
                  <a:cubicBezTo>
                    <a:pt x="87" y="214"/>
                    <a:pt x="74" y="220"/>
                    <a:pt x="62" y="216"/>
                  </a:cubicBezTo>
                  <a:cubicBezTo>
                    <a:pt x="52" y="213"/>
                    <a:pt x="46" y="203"/>
                    <a:pt x="47" y="193"/>
                  </a:cubicBezTo>
                  <a:cubicBezTo>
                    <a:pt x="47" y="191"/>
                    <a:pt x="47" y="191"/>
                    <a:pt x="47" y="191"/>
                  </a:cubicBezTo>
                  <a:cubicBezTo>
                    <a:pt x="47" y="191"/>
                    <a:pt x="48" y="188"/>
                    <a:pt x="48" y="183"/>
                  </a:cubicBezTo>
                  <a:cubicBezTo>
                    <a:pt x="49" y="182"/>
                    <a:pt x="49" y="180"/>
                    <a:pt x="49" y="179"/>
                  </a:cubicBezTo>
                  <a:cubicBezTo>
                    <a:pt x="49" y="177"/>
                    <a:pt x="50" y="175"/>
                    <a:pt x="50" y="174"/>
                  </a:cubicBezTo>
                  <a:cubicBezTo>
                    <a:pt x="50" y="172"/>
                    <a:pt x="51" y="170"/>
                    <a:pt x="51" y="168"/>
                  </a:cubicBezTo>
                  <a:cubicBezTo>
                    <a:pt x="52" y="166"/>
                    <a:pt x="52" y="164"/>
                    <a:pt x="52" y="161"/>
                  </a:cubicBezTo>
                  <a:cubicBezTo>
                    <a:pt x="53" y="157"/>
                    <a:pt x="54" y="152"/>
                    <a:pt x="55" y="147"/>
                  </a:cubicBezTo>
                  <a:cubicBezTo>
                    <a:pt x="56" y="142"/>
                    <a:pt x="56" y="136"/>
                    <a:pt x="56" y="130"/>
                  </a:cubicBezTo>
                  <a:cubicBezTo>
                    <a:pt x="56" y="127"/>
                    <a:pt x="55" y="124"/>
                    <a:pt x="55" y="121"/>
                  </a:cubicBezTo>
                  <a:cubicBezTo>
                    <a:pt x="55" y="118"/>
                    <a:pt x="55" y="115"/>
                    <a:pt x="54" y="112"/>
                  </a:cubicBezTo>
                  <a:cubicBezTo>
                    <a:pt x="54" y="108"/>
                    <a:pt x="54" y="108"/>
                    <a:pt x="54" y="108"/>
                  </a:cubicBezTo>
                  <a:cubicBezTo>
                    <a:pt x="53" y="106"/>
                    <a:pt x="53" y="105"/>
                    <a:pt x="53" y="103"/>
                  </a:cubicBezTo>
                  <a:cubicBezTo>
                    <a:pt x="52" y="100"/>
                    <a:pt x="52" y="97"/>
                    <a:pt x="51" y="94"/>
                  </a:cubicBezTo>
                  <a:cubicBezTo>
                    <a:pt x="50" y="91"/>
                    <a:pt x="49" y="88"/>
                    <a:pt x="49" y="85"/>
                  </a:cubicBezTo>
                  <a:cubicBezTo>
                    <a:pt x="48" y="82"/>
                    <a:pt x="47" y="79"/>
                    <a:pt x="46" y="76"/>
                  </a:cubicBezTo>
                  <a:cubicBezTo>
                    <a:pt x="45" y="74"/>
                    <a:pt x="45" y="73"/>
                    <a:pt x="44" y="71"/>
                  </a:cubicBezTo>
                  <a:cubicBezTo>
                    <a:pt x="44" y="70"/>
                    <a:pt x="43" y="68"/>
                    <a:pt x="42" y="67"/>
                  </a:cubicBezTo>
                  <a:cubicBezTo>
                    <a:pt x="41" y="64"/>
                    <a:pt x="40" y="61"/>
                    <a:pt x="39" y="58"/>
                  </a:cubicBezTo>
                  <a:cubicBezTo>
                    <a:pt x="36" y="53"/>
                    <a:pt x="34" y="48"/>
                    <a:pt x="31" y="43"/>
                  </a:cubicBezTo>
                  <a:cubicBezTo>
                    <a:pt x="29" y="40"/>
                    <a:pt x="28" y="38"/>
                    <a:pt x="27" y="36"/>
                  </a:cubicBezTo>
                  <a:cubicBezTo>
                    <a:pt x="25" y="34"/>
                    <a:pt x="24" y="32"/>
                    <a:pt x="22" y="29"/>
                  </a:cubicBezTo>
                  <a:cubicBezTo>
                    <a:pt x="19" y="25"/>
                    <a:pt x="17" y="22"/>
                    <a:pt x="14" y="19"/>
                  </a:cubicBezTo>
                  <a:cubicBezTo>
                    <a:pt x="13" y="17"/>
                    <a:pt x="12" y="16"/>
                    <a:pt x="11" y="14"/>
                  </a:cubicBezTo>
                  <a:cubicBezTo>
                    <a:pt x="9" y="13"/>
                    <a:pt x="8" y="12"/>
                    <a:pt x="7" y="11"/>
                  </a:cubicBezTo>
                  <a:cubicBezTo>
                    <a:pt x="3" y="6"/>
                    <a:pt x="1" y="4"/>
                    <a:pt x="1" y="4"/>
                  </a:cubicBezTo>
                  <a:cubicBezTo>
                    <a:pt x="0" y="3"/>
                    <a:pt x="0" y="1"/>
                    <a:pt x="1" y="0"/>
                  </a:cubicBezTo>
                  <a:cubicBezTo>
                    <a:pt x="2" y="0"/>
                    <a:pt x="3" y="0"/>
                    <a:pt x="4" y="0"/>
                  </a:cubicBez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3" name="iṩļíḍè"/>
            <p:cNvSpPr/>
            <p:nvPr/>
          </p:nvSpPr>
          <p:spPr bwMode="auto">
            <a:xfrm>
              <a:off x="7081049" y="2252143"/>
              <a:ext cx="85066" cy="91871"/>
            </a:xfrm>
            <a:custGeom>
              <a:avLst/>
              <a:gdLst>
                <a:gd name="T0" fmla="*/ 0 w 75"/>
                <a:gd name="T1" fmla="*/ 0 h 81"/>
                <a:gd name="T2" fmla="*/ 8 w 75"/>
                <a:gd name="T3" fmla="*/ 81 h 81"/>
                <a:gd name="T4" fmla="*/ 75 w 75"/>
                <a:gd name="T5" fmla="*/ 33 h 81"/>
                <a:gd name="T6" fmla="*/ 0 w 75"/>
                <a:gd name="T7" fmla="*/ 0 h 81"/>
              </a:gdLst>
              <a:ahLst/>
              <a:cxnLst>
                <a:cxn ang="0">
                  <a:pos x="T0" y="T1"/>
                </a:cxn>
                <a:cxn ang="0">
                  <a:pos x="T2" y="T3"/>
                </a:cxn>
                <a:cxn ang="0">
                  <a:pos x="T4" y="T5"/>
                </a:cxn>
                <a:cxn ang="0">
                  <a:pos x="T6" y="T7"/>
                </a:cxn>
              </a:cxnLst>
              <a:rect l="0" t="0" r="r" b="b"/>
              <a:pathLst>
                <a:path w="75" h="81">
                  <a:moveTo>
                    <a:pt x="0" y="0"/>
                  </a:moveTo>
                  <a:lnTo>
                    <a:pt x="8" y="81"/>
                  </a:lnTo>
                  <a:lnTo>
                    <a:pt x="75" y="33"/>
                  </a:lnTo>
                  <a:lnTo>
                    <a:pt x="0"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4" name="iṧļiḋé"/>
            <p:cNvSpPr/>
            <p:nvPr/>
          </p:nvSpPr>
          <p:spPr bwMode="auto">
            <a:xfrm>
              <a:off x="4887487" y="2431350"/>
              <a:ext cx="318713" cy="317580"/>
            </a:xfrm>
            <a:prstGeom prst="ellipse">
              <a:avLst/>
            </a:prstGeom>
            <a:noFill/>
            <a:ln w="173038"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5" name="ïṥ1íḑé"/>
            <p:cNvSpPr/>
            <p:nvPr/>
          </p:nvSpPr>
          <p:spPr bwMode="auto">
            <a:xfrm>
              <a:off x="6314324" y="3219627"/>
              <a:ext cx="366349" cy="366350"/>
            </a:xfrm>
            <a:prstGeom prst="ellipse">
              <a:avLst/>
            </a:prstGeom>
            <a:noFill/>
            <a:ln w="120650"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86" name="iṩḷidè"/>
            <p:cNvSpPr/>
            <p:nvPr/>
          </p:nvSpPr>
          <p:spPr bwMode="auto">
            <a:xfrm>
              <a:off x="5628125" y="1283526"/>
              <a:ext cx="1099049" cy="1097918"/>
            </a:xfrm>
            <a:custGeom>
              <a:avLst/>
              <a:gdLst>
                <a:gd name="T0" fmla="*/ 84 w 1243"/>
                <a:gd name="T1" fmla="*/ 773 h 1243"/>
                <a:gd name="T2" fmla="*/ 773 w 1243"/>
                <a:gd name="T3" fmla="*/ 1159 h 1243"/>
                <a:gd name="T4" fmla="*/ 1159 w 1243"/>
                <a:gd name="T5" fmla="*/ 470 h 1243"/>
                <a:gd name="T6" fmla="*/ 470 w 1243"/>
                <a:gd name="T7" fmla="*/ 84 h 1243"/>
                <a:gd name="T8" fmla="*/ 84 w 1243"/>
                <a:gd name="T9" fmla="*/ 773 h 1243"/>
              </a:gdLst>
              <a:ahLst/>
              <a:cxnLst>
                <a:cxn ang="0">
                  <a:pos x="T0" y="T1"/>
                </a:cxn>
                <a:cxn ang="0">
                  <a:pos x="T2" y="T3"/>
                </a:cxn>
                <a:cxn ang="0">
                  <a:pos x="T4" y="T5"/>
                </a:cxn>
                <a:cxn ang="0">
                  <a:pos x="T6" y="T7"/>
                </a:cxn>
                <a:cxn ang="0">
                  <a:pos x="T8" y="T9"/>
                </a:cxn>
              </a:cxnLst>
              <a:rect l="0" t="0" r="r" b="b"/>
              <a:pathLst>
                <a:path w="1243" h="1243">
                  <a:moveTo>
                    <a:pt x="84" y="773"/>
                  </a:moveTo>
                  <a:cubicBezTo>
                    <a:pt x="168" y="1070"/>
                    <a:pt x="477" y="1243"/>
                    <a:pt x="773" y="1159"/>
                  </a:cubicBezTo>
                  <a:cubicBezTo>
                    <a:pt x="1070" y="1075"/>
                    <a:pt x="1243" y="767"/>
                    <a:pt x="1159" y="470"/>
                  </a:cubicBezTo>
                  <a:cubicBezTo>
                    <a:pt x="1075" y="173"/>
                    <a:pt x="767" y="0"/>
                    <a:pt x="470" y="84"/>
                  </a:cubicBezTo>
                  <a:cubicBezTo>
                    <a:pt x="173" y="168"/>
                    <a:pt x="0" y="476"/>
                    <a:pt x="84" y="773"/>
                  </a:cubicBezTo>
                  <a:close/>
                </a:path>
              </a:pathLst>
            </a:custGeom>
            <a:solidFill>
              <a:schemeClr val="bg1">
                <a:lumMod val="8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87" name="ïśḷidê"/>
            <p:cNvSpPr/>
            <p:nvPr/>
          </p:nvSpPr>
          <p:spPr bwMode="auto">
            <a:xfrm>
              <a:off x="5786915" y="1442317"/>
              <a:ext cx="781470" cy="780338"/>
            </a:xfrm>
            <a:custGeom>
              <a:avLst/>
              <a:gdLst>
                <a:gd name="T0" fmla="*/ 60 w 883"/>
                <a:gd name="T1" fmla="*/ 549 h 883"/>
                <a:gd name="T2" fmla="*/ 550 w 883"/>
                <a:gd name="T3" fmla="*/ 824 h 883"/>
                <a:gd name="T4" fmla="*/ 824 w 883"/>
                <a:gd name="T5" fmla="*/ 334 h 883"/>
                <a:gd name="T6" fmla="*/ 334 w 883"/>
                <a:gd name="T7" fmla="*/ 60 h 883"/>
                <a:gd name="T8" fmla="*/ 60 w 883"/>
                <a:gd name="T9" fmla="*/ 549 h 883"/>
              </a:gdLst>
              <a:ahLst/>
              <a:cxnLst>
                <a:cxn ang="0">
                  <a:pos x="T0" y="T1"/>
                </a:cxn>
                <a:cxn ang="0">
                  <a:pos x="T2" y="T3"/>
                </a:cxn>
                <a:cxn ang="0">
                  <a:pos x="T4" y="T5"/>
                </a:cxn>
                <a:cxn ang="0">
                  <a:pos x="T6" y="T7"/>
                </a:cxn>
                <a:cxn ang="0">
                  <a:pos x="T8" y="T9"/>
                </a:cxn>
              </a:cxnLst>
              <a:rect l="0" t="0" r="r" b="b"/>
              <a:pathLst>
                <a:path w="883" h="883">
                  <a:moveTo>
                    <a:pt x="60" y="549"/>
                  </a:moveTo>
                  <a:cubicBezTo>
                    <a:pt x="119" y="760"/>
                    <a:pt x="339" y="883"/>
                    <a:pt x="550" y="824"/>
                  </a:cubicBezTo>
                  <a:cubicBezTo>
                    <a:pt x="761" y="764"/>
                    <a:pt x="883" y="545"/>
                    <a:pt x="824" y="334"/>
                  </a:cubicBezTo>
                  <a:cubicBezTo>
                    <a:pt x="764" y="123"/>
                    <a:pt x="545" y="0"/>
                    <a:pt x="334" y="60"/>
                  </a:cubicBezTo>
                  <a:cubicBezTo>
                    <a:pt x="123" y="119"/>
                    <a:pt x="0" y="338"/>
                    <a:pt x="60" y="549"/>
                  </a:cubicBezTo>
                  <a:close/>
                </a:path>
              </a:pathLst>
            </a:custGeom>
            <a:solidFill>
              <a:schemeClr val="bg1"/>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88" name="îSļidé"/>
            <p:cNvSpPr/>
            <p:nvPr/>
          </p:nvSpPr>
          <p:spPr bwMode="auto">
            <a:xfrm>
              <a:off x="5587294" y="1706588"/>
              <a:ext cx="170131" cy="156521"/>
            </a:xfrm>
            <a:custGeom>
              <a:avLst/>
              <a:gdLst>
                <a:gd name="T0" fmla="*/ 134 w 150"/>
                <a:gd name="T1" fmla="*/ 138 h 138"/>
                <a:gd name="T2" fmla="*/ 150 w 150"/>
                <a:gd name="T3" fmla="*/ 0 h 138"/>
                <a:gd name="T4" fmla="*/ 7 w 150"/>
                <a:gd name="T5" fmla="*/ 20 h 138"/>
                <a:gd name="T6" fmla="*/ 0 w 150"/>
                <a:gd name="T7" fmla="*/ 87 h 138"/>
                <a:gd name="T8" fmla="*/ 134 w 150"/>
                <a:gd name="T9" fmla="*/ 138 h 138"/>
              </a:gdLst>
              <a:ahLst/>
              <a:cxnLst>
                <a:cxn ang="0">
                  <a:pos x="T0" y="T1"/>
                </a:cxn>
                <a:cxn ang="0">
                  <a:pos x="T2" y="T3"/>
                </a:cxn>
                <a:cxn ang="0">
                  <a:pos x="T4" y="T5"/>
                </a:cxn>
                <a:cxn ang="0">
                  <a:pos x="T6" y="T7"/>
                </a:cxn>
                <a:cxn ang="0">
                  <a:pos x="T8" y="T9"/>
                </a:cxn>
              </a:cxnLst>
              <a:rect l="0" t="0" r="r" b="b"/>
              <a:pathLst>
                <a:path w="150" h="138">
                  <a:moveTo>
                    <a:pt x="134" y="138"/>
                  </a:moveTo>
                  <a:lnTo>
                    <a:pt x="150" y="0"/>
                  </a:lnTo>
                  <a:lnTo>
                    <a:pt x="7" y="20"/>
                  </a:lnTo>
                  <a:lnTo>
                    <a:pt x="0" y="87"/>
                  </a:lnTo>
                  <a:lnTo>
                    <a:pt x="134" y="138"/>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nvGrpSpPr>
            <p:cNvPr id="189" name="isľiḍe"/>
            <p:cNvGrpSpPr/>
            <p:nvPr/>
          </p:nvGrpSpPr>
          <p:grpSpPr>
            <a:xfrm>
              <a:off x="5597511" y="1242688"/>
              <a:ext cx="1170507" cy="1179578"/>
              <a:chOff x="2689434" y="2085582"/>
              <a:chExt cx="1047121" cy="1055239"/>
            </a:xfrm>
            <a:solidFill>
              <a:schemeClr val="accent4"/>
            </a:solidFill>
          </p:grpSpPr>
          <p:sp>
            <p:nvSpPr>
              <p:cNvPr id="194" name="iṧḷiḓé"/>
              <p:cNvSpPr/>
              <p:nvPr/>
            </p:nvSpPr>
            <p:spPr bwMode="auto">
              <a:xfrm>
                <a:off x="3032387" y="2095729"/>
                <a:ext cx="139007" cy="166403"/>
              </a:xfrm>
              <a:custGeom>
                <a:avLst/>
                <a:gdLst>
                  <a:gd name="T0" fmla="*/ 4 w 137"/>
                  <a:gd name="T1" fmla="*/ 164 h 164"/>
                  <a:gd name="T2" fmla="*/ 137 w 137"/>
                  <a:gd name="T3" fmla="*/ 126 h 164"/>
                  <a:gd name="T4" fmla="*/ 64 w 137"/>
                  <a:gd name="T5" fmla="*/ 0 h 164"/>
                  <a:gd name="T6" fmla="*/ 0 w 137"/>
                  <a:gd name="T7" fmla="*/ 17 h 164"/>
                  <a:gd name="T8" fmla="*/ 4 w 137"/>
                  <a:gd name="T9" fmla="*/ 164 h 164"/>
                </a:gdLst>
                <a:ahLst/>
                <a:cxnLst>
                  <a:cxn ang="0">
                    <a:pos x="T0" y="T1"/>
                  </a:cxn>
                  <a:cxn ang="0">
                    <a:pos x="T2" y="T3"/>
                  </a:cxn>
                  <a:cxn ang="0">
                    <a:pos x="T4" y="T5"/>
                  </a:cxn>
                  <a:cxn ang="0">
                    <a:pos x="T6" y="T7"/>
                  </a:cxn>
                  <a:cxn ang="0">
                    <a:pos x="T8" y="T9"/>
                  </a:cxn>
                </a:cxnLst>
                <a:rect l="0" t="0" r="r" b="b"/>
                <a:pathLst>
                  <a:path w="137" h="164">
                    <a:moveTo>
                      <a:pt x="4" y="164"/>
                    </a:moveTo>
                    <a:lnTo>
                      <a:pt x="137" y="126"/>
                    </a:lnTo>
                    <a:lnTo>
                      <a:pt x="64" y="0"/>
                    </a:lnTo>
                    <a:lnTo>
                      <a:pt x="0" y="17"/>
                    </a:lnTo>
                    <a:lnTo>
                      <a:pt x="4" y="16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5" name="iṣľíḋé"/>
              <p:cNvSpPr/>
              <p:nvPr/>
            </p:nvSpPr>
            <p:spPr bwMode="auto">
              <a:xfrm>
                <a:off x="2689434" y="2649729"/>
                <a:ext cx="167417" cy="139008"/>
              </a:xfrm>
              <a:custGeom>
                <a:avLst/>
                <a:gdLst>
                  <a:gd name="T0" fmla="*/ 127 w 165"/>
                  <a:gd name="T1" fmla="*/ 0 h 137"/>
                  <a:gd name="T2" fmla="*/ 165 w 165"/>
                  <a:gd name="T3" fmla="*/ 134 h 137"/>
                  <a:gd name="T4" fmla="*/ 18 w 165"/>
                  <a:gd name="T5" fmla="*/ 137 h 137"/>
                  <a:gd name="T6" fmla="*/ 0 w 165"/>
                  <a:gd name="T7" fmla="*/ 74 h 137"/>
                  <a:gd name="T8" fmla="*/ 127 w 165"/>
                  <a:gd name="T9" fmla="*/ 0 h 137"/>
                </a:gdLst>
                <a:ahLst/>
                <a:cxnLst>
                  <a:cxn ang="0">
                    <a:pos x="T0" y="T1"/>
                  </a:cxn>
                  <a:cxn ang="0">
                    <a:pos x="T2" y="T3"/>
                  </a:cxn>
                  <a:cxn ang="0">
                    <a:pos x="T4" y="T5"/>
                  </a:cxn>
                  <a:cxn ang="0">
                    <a:pos x="T6" y="T7"/>
                  </a:cxn>
                  <a:cxn ang="0">
                    <a:pos x="T8" y="T9"/>
                  </a:cxn>
                </a:cxnLst>
                <a:rect l="0" t="0" r="r" b="b"/>
                <a:pathLst>
                  <a:path w="165" h="137">
                    <a:moveTo>
                      <a:pt x="127" y="0"/>
                    </a:moveTo>
                    <a:lnTo>
                      <a:pt x="165" y="134"/>
                    </a:lnTo>
                    <a:lnTo>
                      <a:pt x="18" y="137"/>
                    </a:lnTo>
                    <a:lnTo>
                      <a:pt x="0" y="74"/>
                    </a:lnTo>
                    <a:lnTo>
                      <a:pt x="127"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6" name="íSľíḍê"/>
              <p:cNvSpPr/>
              <p:nvPr/>
            </p:nvSpPr>
            <p:spPr bwMode="auto">
              <a:xfrm>
                <a:off x="3245464" y="2963256"/>
                <a:ext cx="139007" cy="168432"/>
              </a:xfrm>
              <a:custGeom>
                <a:avLst/>
                <a:gdLst>
                  <a:gd name="T0" fmla="*/ 133 w 137"/>
                  <a:gd name="T1" fmla="*/ 0 h 166"/>
                  <a:gd name="T2" fmla="*/ 0 w 137"/>
                  <a:gd name="T3" fmla="*/ 39 h 166"/>
                  <a:gd name="T4" fmla="*/ 73 w 137"/>
                  <a:gd name="T5" fmla="*/ 166 h 166"/>
                  <a:gd name="T6" fmla="*/ 137 w 137"/>
                  <a:gd name="T7" fmla="*/ 147 h 166"/>
                  <a:gd name="T8" fmla="*/ 133 w 137"/>
                  <a:gd name="T9" fmla="*/ 0 h 166"/>
                </a:gdLst>
                <a:ahLst/>
                <a:cxnLst>
                  <a:cxn ang="0">
                    <a:pos x="T0" y="T1"/>
                  </a:cxn>
                  <a:cxn ang="0">
                    <a:pos x="T2" y="T3"/>
                  </a:cxn>
                  <a:cxn ang="0">
                    <a:pos x="T4" y="T5"/>
                  </a:cxn>
                  <a:cxn ang="0">
                    <a:pos x="T6" y="T7"/>
                  </a:cxn>
                  <a:cxn ang="0">
                    <a:pos x="T8" y="T9"/>
                  </a:cxn>
                </a:cxnLst>
                <a:rect l="0" t="0" r="r" b="b"/>
                <a:pathLst>
                  <a:path w="137" h="166">
                    <a:moveTo>
                      <a:pt x="133" y="0"/>
                    </a:moveTo>
                    <a:lnTo>
                      <a:pt x="0" y="39"/>
                    </a:lnTo>
                    <a:lnTo>
                      <a:pt x="73" y="166"/>
                    </a:lnTo>
                    <a:lnTo>
                      <a:pt x="137" y="147"/>
                    </a:lnTo>
                    <a:lnTo>
                      <a:pt x="13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7" name="ïşliḑe"/>
              <p:cNvSpPr/>
              <p:nvPr/>
            </p:nvSpPr>
            <p:spPr bwMode="auto">
              <a:xfrm>
                <a:off x="3560006" y="2437666"/>
                <a:ext cx="167417" cy="139008"/>
              </a:xfrm>
              <a:custGeom>
                <a:avLst/>
                <a:gdLst>
                  <a:gd name="T0" fmla="*/ 38 w 165"/>
                  <a:gd name="T1" fmla="*/ 137 h 137"/>
                  <a:gd name="T2" fmla="*/ 0 w 165"/>
                  <a:gd name="T3" fmla="*/ 4 h 137"/>
                  <a:gd name="T4" fmla="*/ 147 w 165"/>
                  <a:gd name="T5" fmla="*/ 0 h 137"/>
                  <a:gd name="T6" fmla="*/ 165 w 165"/>
                  <a:gd name="T7" fmla="*/ 64 h 137"/>
                  <a:gd name="T8" fmla="*/ 38 w 165"/>
                  <a:gd name="T9" fmla="*/ 137 h 137"/>
                </a:gdLst>
                <a:ahLst/>
                <a:cxnLst>
                  <a:cxn ang="0">
                    <a:pos x="T0" y="T1"/>
                  </a:cxn>
                  <a:cxn ang="0">
                    <a:pos x="T2" y="T3"/>
                  </a:cxn>
                  <a:cxn ang="0">
                    <a:pos x="T4" y="T5"/>
                  </a:cxn>
                  <a:cxn ang="0">
                    <a:pos x="T6" y="T7"/>
                  </a:cxn>
                  <a:cxn ang="0">
                    <a:pos x="T8" y="T9"/>
                  </a:cxn>
                </a:cxnLst>
                <a:rect l="0" t="0" r="r" b="b"/>
                <a:pathLst>
                  <a:path w="165" h="137">
                    <a:moveTo>
                      <a:pt x="38" y="137"/>
                    </a:moveTo>
                    <a:lnTo>
                      <a:pt x="0" y="4"/>
                    </a:lnTo>
                    <a:lnTo>
                      <a:pt x="147" y="0"/>
                    </a:lnTo>
                    <a:lnTo>
                      <a:pt x="165" y="64"/>
                    </a:lnTo>
                    <a:lnTo>
                      <a:pt x="38" y="13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8" name="îšḷïḍe"/>
              <p:cNvSpPr/>
              <p:nvPr/>
            </p:nvSpPr>
            <p:spPr bwMode="auto">
              <a:xfrm>
                <a:off x="2732050" y="2327069"/>
                <a:ext cx="173505" cy="159301"/>
              </a:xfrm>
              <a:custGeom>
                <a:avLst/>
                <a:gdLst>
                  <a:gd name="T0" fmla="*/ 103 w 171"/>
                  <a:gd name="T1" fmla="*/ 157 h 157"/>
                  <a:gd name="T2" fmla="*/ 171 w 171"/>
                  <a:gd name="T3" fmla="*/ 36 h 157"/>
                  <a:gd name="T4" fmla="*/ 32 w 171"/>
                  <a:gd name="T5" fmla="*/ 0 h 157"/>
                  <a:gd name="T6" fmla="*/ 0 w 171"/>
                  <a:gd name="T7" fmla="*/ 57 h 157"/>
                  <a:gd name="T8" fmla="*/ 103 w 171"/>
                  <a:gd name="T9" fmla="*/ 157 h 157"/>
                </a:gdLst>
                <a:ahLst/>
                <a:cxnLst>
                  <a:cxn ang="0">
                    <a:pos x="T0" y="T1"/>
                  </a:cxn>
                  <a:cxn ang="0">
                    <a:pos x="T2" y="T3"/>
                  </a:cxn>
                  <a:cxn ang="0">
                    <a:pos x="T4" y="T5"/>
                  </a:cxn>
                  <a:cxn ang="0">
                    <a:pos x="T6" y="T7"/>
                  </a:cxn>
                  <a:cxn ang="0">
                    <a:pos x="T8" y="T9"/>
                  </a:cxn>
                </a:cxnLst>
                <a:rect l="0" t="0" r="r" b="b"/>
                <a:pathLst>
                  <a:path w="171" h="157">
                    <a:moveTo>
                      <a:pt x="103" y="157"/>
                    </a:moveTo>
                    <a:lnTo>
                      <a:pt x="171" y="36"/>
                    </a:lnTo>
                    <a:lnTo>
                      <a:pt x="32" y="0"/>
                    </a:lnTo>
                    <a:lnTo>
                      <a:pt x="0" y="57"/>
                    </a:lnTo>
                    <a:lnTo>
                      <a:pt x="103" y="15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9" name="iṣľîḋê"/>
              <p:cNvSpPr/>
              <p:nvPr/>
            </p:nvSpPr>
            <p:spPr bwMode="auto">
              <a:xfrm>
                <a:off x="2921789" y="2915568"/>
                <a:ext cx="159300" cy="173506"/>
              </a:xfrm>
              <a:custGeom>
                <a:avLst/>
                <a:gdLst>
                  <a:gd name="T0" fmla="*/ 36 w 157"/>
                  <a:gd name="T1" fmla="*/ 0 h 171"/>
                  <a:gd name="T2" fmla="*/ 157 w 157"/>
                  <a:gd name="T3" fmla="*/ 68 h 171"/>
                  <a:gd name="T4" fmla="*/ 58 w 157"/>
                  <a:gd name="T5" fmla="*/ 171 h 171"/>
                  <a:gd name="T6" fmla="*/ 0 w 157"/>
                  <a:gd name="T7" fmla="*/ 139 h 171"/>
                  <a:gd name="T8" fmla="*/ 36 w 157"/>
                  <a:gd name="T9" fmla="*/ 0 h 171"/>
                </a:gdLst>
                <a:ahLst/>
                <a:cxnLst>
                  <a:cxn ang="0">
                    <a:pos x="T0" y="T1"/>
                  </a:cxn>
                  <a:cxn ang="0">
                    <a:pos x="T2" y="T3"/>
                  </a:cxn>
                  <a:cxn ang="0">
                    <a:pos x="T4" y="T5"/>
                  </a:cxn>
                  <a:cxn ang="0">
                    <a:pos x="T6" y="T7"/>
                  </a:cxn>
                  <a:cxn ang="0">
                    <a:pos x="T8" y="T9"/>
                  </a:cxn>
                </a:cxnLst>
                <a:rect l="0" t="0" r="r" b="b"/>
                <a:pathLst>
                  <a:path w="157" h="171">
                    <a:moveTo>
                      <a:pt x="36" y="0"/>
                    </a:moveTo>
                    <a:lnTo>
                      <a:pt x="157" y="68"/>
                    </a:lnTo>
                    <a:lnTo>
                      <a:pt x="58" y="171"/>
                    </a:lnTo>
                    <a:lnTo>
                      <a:pt x="0" y="139"/>
                    </a:lnTo>
                    <a:lnTo>
                      <a:pt x="3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0" name="ïṧḷiďè"/>
              <p:cNvSpPr/>
              <p:nvPr/>
            </p:nvSpPr>
            <p:spPr bwMode="auto">
              <a:xfrm>
                <a:off x="3511303" y="2741048"/>
                <a:ext cx="174520" cy="159301"/>
              </a:xfrm>
              <a:custGeom>
                <a:avLst/>
                <a:gdLst>
                  <a:gd name="T0" fmla="*/ 68 w 172"/>
                  <a:gd name="T1" fmla="*/ 0 h 157"/>
                  <a:gd name="T2" fmla="*/ 0 w 172"/>
                  <a:gd name="T3" fmla="*/ 121 h 157"/>
                  <a:gd name="T4" fmla="*/ 140 w 172"/>
                  <a:gd name="T5" fmla="*/ 157 h 157"/>
                  <a:gd name="T6" fmla="*/ 172 w 172"/>
                  <a:gd name="T7" fmla="*/ 99 h 157"/>
                  <a:gd name="T8" fmla="*/ 68 w 172"/>
                  <a:gd name="T9" fmla="*/ 0 h 157"/>
                </a:gdLst>
                <a:ahLst/>
                <a:cxnLst>
                  <a:cxn ang="0">
                    <a:pos x="T0" y="T1"/>
                  </a:cxn>
                  <a:cxn ang="0">
                    <a:pos x="T2" y="T3"/>
                  </a:cxn>
                  <a:cxn ang="0">
                    <a:pos x="T4" y="T5"/>
                  </a:cxn>
                  <a:cxn ang="0">
                    <a:pos x="T6" y="T7"/>
                  </a:cxn>
                  <a:cxn ang="0">
                    <a:pos x="T8" y="T9"/>
                  </a:cxn>
                </a:cxnLst>
                <a:rect l="0" t="0" r="r" b="b"/>
                <a:pathLst>
                  <a:path w="172" h="157">
                    <a:moveTo>
                      <a:pt x="68" y="0"/>
                    </a:moveTo>
                    <a:lnTo>
                      <a:pt x="0" y="121"/>
                    </a:lnTo>
                    <a:lnTo>
                      <a:pt x="140" y="157"/>
                    </a:lnTo>
                    <a:lnTo>
                      <a:pt x="172" y="99"/>
                    </a:lnTo>
                    <a:lnTo>
                      <a:pt x="68"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1" name="ïṥ1iďê"/>
              <p:cNvSpPr/>
              <p:nvPr/>
            </p:nvSpPr>
            <p:spPr bwMode="auto">
              <a:xfrm>
                <a:off x="3336783" y="2137329"/>
                <a:ext cx="159300" cy="173506"/>
              </a:xfrm>
              <a:custGeom>
                <a:avLst/>
                <a:gdLst>
                  <a:gd name="T0" fmla="*/ 121 w 157"/>
                  <a:gd name="T1" fmla="*/ 171 h 171"/>
                  <a:gd name="T2" fmla="*/ 0 w 157"/>
                  <a:gd name="T3" fmla="*/ 103 h 171"/>
                  <a:gd name="T4" fmla="*/ 99 w 157"/>
                  <a:gd name="T5" fmla="*/ 0 h 171"/>
                  <a:gd name="T6" fmla="*/ 157 w 157"/>
                  <a:gd name="T7" fmla="*/ 32 h 171"/>
                  <a:gd name="T8" fmla="*/ 121 w 157"/>
                  <a:gd name="T9" fmla="*/ 171 h 171"/>
                </a:gdLst>
                <a:ahLst/>
                <a:cxnLst>
                  <a:cxn ang="0">
                    <a:pos x="T0" y="T1"/>
                  </a:cxn>
                  <a:cxn ang="0">
                    <a:pos x="T2" y="T3"/>
                  </a:cxn>
                  <a:cxn ang="0">
                    <a:pos x="T4" y="T5"/>
                  </a:cxn>
                  <a:cxn ang="0">
                    <a:pos x="T6" y="T7"/>
                  </a:cxn>
                  <a:cxn ang="0">
                    <a:pos x="T8" y="T9"/>
                  </a:cxn>
                </a:cxnLst>
                <a:rect l="0" t="0" r="r" b="b"/>
                <a:pathLst>
                  <a:path w="157" h="171">
                    <a:moveTo>
                      <a:pt x="121" y="171"/>
                    </a:moveTo>
                    <a:lnTo>
                      <a:pt x="0" y="103"/>
                    </a:lnTo>
                    <a:lnTo>
                      <a:pt x="99" y="0"/>
                    </a:lnTo>
                    <a:lnTo>
                      <a:pt x="157" y="32"/>
                    </a:lnTo>
                    <a:lnTo>
                      <a:pt x="121" y="17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2" name="í$ḷîḋe"/>
              <p:cNvSpPr/>
              <p:nvPr/>
            </p:nvSpPr>
            <p:spPr bwMode="auto">
              <a:xfrm>
                <a:off x="2852793" y="2180959"/>
                <a:ext cx="169447" cy="175535"/>
              </a:xfrm>
              <a:custGeom>
                <a:avLst/>
                <a:gdLst>
                  <a:gd name="T0" fmla="*/ 58 w 167"/>
                  <a:gd name="T1" fmla="*/ 173 h 173"/>
                  <a:gd name="T2" fmla="*/ 167 w 167"/>
                  <a:gd name="T3" fmla="*/ 85 h 173"/>
                  <a:gd name="T4" fmla="*/ 51 w 167"/>
                  <a:gd name="T5" fmla="*/ 0 h 173"/>
                  <a:gd name="T6" fmla="*/ 0 w 167"/>
                  <a:gd name="T7" fmla="*/ 41 h 173"/>
                  <a:gd name="T8" fmla="*/ 58 w 167"/>
                  <a:gd name="T9" fmla="*/ 173 h 173"/>
                </a:gdLst>
                <a:ahLst/>
                <a:cxnLst>
                  <a:cxn ang="0">
                    <a:pos x="T0" y="T1"/>
                  </a:cxn>
                  <a:cxn ang="0">
                    <a:pos x="T2" y="T3"/>
                  </a:cxn>
                  <a:cxn ang="0">
                    <a:pos x="T4" y="T5"/>
                  </a:cxn>
                  <a:cxn ang="0">
                    <a:pos x="T6" y="T7"/>
                  </a:cxn>
                  <a:cxn ang="0">
                    <a:pos x="T8" y="T9"/>
                  </a:cxn>
                </a:cxnLst>
                <a:rect l="0" t="0" r="r" b="b"/>
                <a:pathLst>
                  <a:path w="167" h="173">
                    <a:moveTo>
                      <a:pt x="58" y="173"/>
                    </a:moveTo>
                    <a:lnTo>
                      <a:pt x="167" y="85"/>
                    </a:lnTo>
                    <a:lnTo>
                      <a:pt x="51" y="0"/>
                    </a:lnTo>
                    <a:lnTo>
                      <a:pt x="0" y="41"/>
                    </a:lnTo>
                    <a:lnTo>
                      <a:pt x="58" y="17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3" name="íş1ïḑê"/>
              <p:cNvSpPr/>
              <p:nvPr/>
            </p:nvSpPr>
            <p:spPr bwMode="auto">
              <a:xfrm>
                <a:off x="2775679" y="2798882"/>
                <a:ext cx="175535" cy="169447"/>
              </a:xfrm>
              <a:custGeom>
                <a:avLst/>
                <a:gdLst>
                  <a:gd name="T0" fmla="*/ 86 w 173"/>
                  <a:gd name="T1" fmla="*/ 0 h 167"/>
                  <a:gd name="T2" fmla="*/ 173 w 173"/>
                  <a:gd name="T3" fmla="*/ 109 h 167"/>
                  <a:gd name="T4" fmla="*/ 41 w 173"/>
                  <a:gd name="T5" fmla="*/ 167 h 167"/>
                  <a:gd name="T6" fmla="*/ 0 w 173"/>
                  <a:gd name="T7" fmla="*/ 116 h 167"/>
                  <a:gd name="T8" fmla="*/ 86 w 173"/>
                  <a:gd name="T9" fmla="*/ 0 h 167"/>
                </a:gdLst>
                <a:ahLst/>
                <a:cxnLst>
                  <a:cxn ang="0">
                    <a:pos x="T0" y="T1"/>
                  </a:cxn>
                  <a:cxn ang="0">
                    <a:pos x="T2" y="T3"/>
                  </a:cxn>
                  <a:cxn ang="0">
                    <a:pos x="T4" y="T5"/>
                  </a:cxn>
                  <a:cxn ang="0">
                    <a:pos x="T6" y="T7"/>
                  </a:cxn>
                  <a:cxn ang="0">
                    <a:pos x="T8" y="T9"/>
                  </a:cxn>
                </a:cxnLst>
                <a:rect l="0" t="0" r="r" b="b"/>
                <a:pathLst>
                  <a:path w="173" h="167">
                    <a:moveTo>
                      <a:pt x="86" y="0"/>
                    </a:moveTo>
                    <a:lnTo>
                      <a:pt x="173" y="109"/>
                    </a:lnTo>
                    <a:lnTo>
                      <a:pt x="41" y="167"/>
                    </a:lnTo>
                    <a:lnTo>
                      <a:pt x="0" y="116"/>
                    </a:lnTo>
                    <a:lnTo>
                      <a:pt x="8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4" name="ïṡlídé"/>
              <p:cNvSpPr/>
              <p:nvPr/>
            </p:nvSpPr>
            <p:spPr bwMode="auto">
              <a:xfrm>
                <a:off x="3394618" y="2870923"/>
                <a:ext cx="169447" cy="174520"/>
              </a:xfrm>
              <a:custGeom>
                <a:avLst/>
                <a:gdLst>
                  <a:gd name="T0" fmla="*/ 109 w 167"/>
                  <a:gd name="T1" fmla="*/ 0 h 172"/>
                  <a:gd name="T2" fmla="*/ 0 w 167"/>
                  <a:gd name="T3" fmla="*/ 87 h 172"/>
                  <a:gd name="T4" fmla="*/ 116 w 167"/>
                  <a:gd name="T5" fmla="*/ 172 h 172"/>
                  <a:gd name="T6" fmla="*/ 167 w 167"/>
                  <a:gd name="T7" fmla="*/ 131 h 172"/>
                  <a:gd name="T8" fmla="*/ 109 w 167"/>
                  <a:gd name="T9" fmla="*/ 0 h 172"/>
                </a:gdLst>
                <a:ahLst/>
                <a:cxnLst>
                  <a:cxn ang="0">
                    <a:pos x="T0" y="T1"/>
                  </a:cxn>
                  <a:cxn ang="0">
                    <a:pos x="T2" y="T3"/>
                  </a:cxn>
                  <a:cxn ang="0">
                    <a:pos x="T4" y="T5"/>
                  </a:cxn>
                  <a:cxn ang="0">
                    <a:pos x="T6" y="T7"/>
                  </a:cxn>
                  <a:cxn ang="0">
                    <a:pos x="T8" y="T9"/>
                  </a:cxn>
                </a:cxnLst>
                <a:rect l="0" t="0" r="r" b="b"/>
                <a:pathLst>
                  <a:path w="167" h="172">
                    <a:moveTo>
                      <a:pt x="109" y="0"/>
                    </a:moveTo>
                    <a:lnTo>
                      <a:pt x="0" y="87"/>
                    </a:lnTo>
                    <a:lnTo>
                      <a:pt x="116" y="172"/>
                    </a:lnTo>
                    <a:lnTo>
                      <a:pt x="167" y="131"/>
                    </a:lnTo>
                    <a:lnTo>
                      <a:pt x="10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5" name="íṧḷîḍé"/>
              <p:cNvSpPr/>
              <p:nvPr/>
            </p:nvSpPr>
            <p:spPr bwMode="auto">
              <a:xfrm>
                <a:off x="3466658" y="2258073"/>
                <a:ext cx="175535" cy="169447"/>
              </a:xfrm>
              <a:custGeom>
                <a:avLst/>
                <a:gdLst>
                  <a:gd name="T0" fmla="*/ 87 w 173"/>
                  <a:gd name="T1" fmla="*/ 167 h 167"/>
                  <a:gd name="T2" fmla="*/ 0 w 173"/>
                  <a:gd name="T3" fmla="*/ 58 h 167"/>
                  <a:gd name="T4" fmla="*/ 131 w 173"/>
                  <a:gd name="T5" fmla="*/ 0 h 167"/>
                  <a:gd name="T6" fmla="*/ 173 w 173"/>
                  <a:gd name="T7" fmla="*/ 51 h 167"/>
                  <a:gd name="T8" fmla="*/ 87 w 173"/>
                  <a:gd name="T9" fmla="*/ 167 h 167"/>
                </a:gdLst>
                <a:ahLst/>
                <a:cxnLst>
                  <a:cxn ang="0">
                    <a:pos x="T0" y="T1"/>
                  </a:cxn>
                  <a:cxn ang="0">
                    <a:pos x="T2" y="T3"/>
                  </a:cxn>
                  <a:cxn ang="0">
                    <a:pos x="T4" y="T5"/>
                  </a:cxn>
                  <a:cxn ang="0">
                    <a:pos x="T6" y="T7"/>
                  </a:cxn>
                  <a:cxn ang="0">
                    <a:pos x="T8" y="T9"/>
                  </a:cxn>
                </a:cxnLst>
                <a:rect l="0" t="0" r="r" b="b"/>
                <a:pathLst>
                  <a:path w="173" h="167">
                    <a:moveTo>
                      <a:pt x="87" y="167"/>
                    </a:moveTo>
                    <a:lnTo>
                      <a:pt x="0" y="58"/>
                    </a:lnTo>
                    <a:lnTo>
                      <a:pt x="131" y="0"/>
                    </a:lnTo>
                    <a:lnTo>
                      <a:pt x="173" y="51"/>
                    </a:lnTo>
                    <a:lnTo>
                      <a:pt x="87" y="16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6" name="iŝ1ïde"/>
              <p:cNvSpPr/>
              <p:nvPr/>
            </p:nvSpPr>
            <p:spPr bwMode="auto">
              <a:xfrm>
                <a:off x="3095295" y="2988623"/>
                <a:ext cx="141036" cy="152198"/>
              </a:xfrm>
              <a:custGeom>
                <a:avLst/>
                <a:gdLst>
                  <a:gd name="T0" fmla="*/ 0 w 139"/>
                  <a:gd name="T1" fmla="*/ 0 h 150"/>
                  <a:gd name="T2" fmla="*/ 139 w 139"/>
                  <a:gd name="T3" fmla="*/ 16 h 150"/>
                  <a:gd name="T4" fmla="*/ 87 w 139"/>
                  <a:gd name="T5" fmla="*/ 150 h 150"/>
                  <a:gd name="T6" fmla="*/ 21 w 139"/>
                  <a:gd name="T7" fmla="*/ 143 h 150"/>
                  <a:gd name="T8" fmla="*/ 0 w 139"/>
                  <a:gd name="T9" fmla="*/ 0 h 150"/>
                </a:gdLst>
                <a:ahLst/>
                <a:cxnLst>
                  <a:cxn ang="0">
                    <a:pos x="T0" y="T1"/>
                  </a:cxn>
                  <a:cxn ang="0">
                    <a:pos x="T2" y="T3"/>
                  </a:cxn>
                  <a:cxn ang="0">
                    <a:pos x="T4" y="T5"/>
                  </a:cxn>
                  <a:cxn ang="0">
                    <a:pos x="T6" y="T7"/>
                  </a:cxn>
                  <a:cxn ang="0">
                    <a:pos x="T8" y="T9"/>
                  </a:cxn>
                </a:cxnLst>
                <a:rect l="0" t="0" r="r" b="b"/>
                <a:pathLst>
                  <a:path w="139" h="150">
                    <a:moveTo>
                      <a:pt x="0" y="0"/>
                    </a:moveTo>
                    <a:lnTo>
                      <a:pt x="139" y="16"/>
                    </a:lnTo>
                    <a:lnTo>
                      <a:pt x="87" y="150"/>
                    </a:lnTo>
                    <a:lnTo>
                      <a:pt x="21" y="14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7" name="ïṩḻïḑe"/>
              <p:cNvSpPr/>
              <p:nvPr/>
            </p:nvSpPr>
            <p:spPr bwMode="auto">
              <a:xfrm>
                <a:off x="3585372" y="2585805"/>
                <a:ext cx="151183" cy="140022"/>
              </a:xfrm>
              <a:custGeom>
                <a:avLst/>
                <a:gdLst>
                  <a:gd name="T0" fmla="*/ 15 w 149"/>
                  <a:gd name="T1" fmla="*/ 0 h 138"/>
                  <a:gd name="T2" fmla="*/ 0 w 149"/>
                  <a:gd name="T3" fmla="*/ 138 h 138"/>
                  <a:gd name="T4" fmla="*/ 142 w 149"/>
                  <a:gd name="T5" fmla="*/ 118 h 138"/>
                  <a:gd name="T6" fmla="*/ 149 w 149"/>
                  <a:gd name="T7" fmla="*/ 52 h 138"/>
                  <a:gd name="T8" fmla="*/ 15 w 149"/>
                  <a:gd name="T9" fmla="*/ 0 h 138"/>
                </a:gdLst>
                <a:ahLst/>
                <a:cxnLst>
                  <a:cxn ang="0">
                    <a:pos x="T0" y="T1"/>
                  </a:cxn>
                  <a:cxn ang="0">
                    <a:pos x="T2" y="T3"/>
                  </a:cxn>
                  <a:cxn ang="0">
                    <a:pos x="T4" y="T5"/>
                  </a:cxn>
                  <a:cxn ang="0">
                    <a:pos x="T6" y="T7"/>
                  </a:cxn>
                  <a:cxn ang="0">
                    <a:pos x="T8" y="T9"/>
                  </a:cxn>
                </a:cxnLst>
                <a:rect l="0" t="0" r="r" b="b"/>
                <a:pathLst>
                  <a:path w="149" h="138">
                    <a:moveTo>
                      <a:pt x="15" y="0"/>
                    </a:moveTo>
                    <a:lnTo>
                      <a:pt x="0" y="138"/>
                    </a:lnTo>
                    <a:lnTo>
                      <a:pt x="142" y="118"/>
                    </a:lnTo>
                    <a:lnTo>
                      <a:pt x="149" y="52"/>
                    </a:lnTo>
                    <a:lnTo>
                      <a:pt x="1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8" name="íṣliḋè"/>
              <p:cNvSpPr/>
              <p:nvPr/>
            </p:nvSpPr>
            <p:spPr bwMode="auto">
              <a:xfrm>
                <a:off x="3181541" y="2085582"/>
                <a:ext cx="140022" cy="152198"/>
              </a:xfrm>
              <a:custGeom>
                <a:avLst/>
                <a:gdLst>
                  <a:gd name="T0" fmla="*/ 138 w 138"/>
                  <a:gd name="T1" fmla="*/ 150 h 150"/>
                  <a:gd name="T2" fmla="*/ 0 w 138"/>
                  <a:gd name="T3" fmla="*/ 134 h 150"/>
                  <a:gd name="T4" fmla="*/ 51 w 138"/>
                  <a:gd name="T5" fmla="*/ 0 h 150"/>
                  <a:gd name="T6" fmla="*/ 118 w 138"/>
                  <a:gd name="T7" fmla="*/ 7 h 150"/>
                  <a:gd name="T8" fmla="*/ 138 w 138"/>
                  <a:gd name="T9" fmla="*/ 150 h 150"/>
                </a:gdLst>
                <a:ahLst/>
                <a:cxnLst>
                  <a:cxn ang="0">
                    <a:pos x="T0" y="T1"/>
                  </a:cxn>
                  <a:cxn ang="0">
                    <a:pos x="T2" y="T3"/>
                  </a:cxn>
                  <a:cxn ang="0">
                    <a:pos x="T4" y="T5"/>
                  </a:cxn>
                  <a:cxn ang="0">
                    <a:pos x="T6" y="T7"/>
                  </a:cxn>
                  <a:cxn ang="0">
                    <a:pos x="T8" y="T9"/>
                  </a:cxn>
                </a:cxnLst>
                <a:rect l="0" t="0" r="r" b="b"/>
                <a:pathLst>
                  <a:path w="138" h="150">
                    <a:moveTo>
                      <a:pt x="138" y="150"/>
                    </a:moveTo>
                    <a:lnTo>
                      <a:pt x="0" y="134"/>
                    </a:lnTo>
                    <a:lnTo>
                      <a:pt x="51" y="0"/>
                    </a:lnTo>
                    <a:lnTo>
                      <a:pt x="118" y="7"/>
                    </a:lnTo>
                    <a:lnTo>
                      <a:pt x="138" y="15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sp>
          <p:nvSpPr>
            <p:cNvPr id="190" name="îs1ïḍé"/>
            <p:cNvSpPr/>
            <p:nvPr/>
          </p:nvSpPr>
          <p:spPr bwMode="auto">
            <a:xfrm>
              <a:off x="6285966" y="1831351"/>
              <a:ext cx="268807" cy="335727"/>
            </a:xfrm>
            <a:custGeom>
              <a:avLst/>
              <a:gdLst>
                <a:gd name="T0" fmla="*/ 300 w 304"/>
                <a:gd name="T1" fmla="*/ 51 h 380"/>
                <a:gd name="T2" fmla="*/ 295 w 304"/>
                <a:gd name="T3" fmla="*/ 75 h 380"/>
                <a:gd name="T4" fmla="*/ 287 w 304"/>
                <a:gd name="T5" fmla="*/ 107 h 380"/>
                <a:gd name="T6" fmla="*/ 274 w 304"/>
                <a:gd name="T7" fmla="*/ 142 h 380"/>
                <a:gd name="T8" fmla="*/ 260 w 304"/>
                <a:gd name="T9" fmla="*/ 171 h 380"/>
                <a:gd name="T10" fmla="*/ 244 w 304"/>
                <a:gd name="T11" fmla="*/ 199 h 380"/>
                <a:gd name="T12" fmla="*/ 232 w 304"/>
                <a:gd name="T13" fmla="*/ 218 h 380"/>
                <a:gd name="T14" fmla="*/ 218 w 304"/>
                <a:gd name="T15" fmla="*/ 237 h 380"/>
                <a:gd name="T16" fmla="*/ 188 w 304"/>
                <a:gd name="T17" fmla="*/ 272 h 380"/>
                <a:gd name="T18" fmla="*/ 171 w 304"/>
                <a:gd name="T19" fmla="*/ 287 h 380"/>
                <a:gd name="T20" fmla="*/ 155 w 304"/>
                <a:gd name="T21" fmla="*/ 302 h 380"/>
                <a:gd name="T22" fmla="*/ 103 w 304"/>
                <a:gd name="T23" fmla="*/ 338 h 380"/>
                <a:gd name="T24" fmla="*/ 71 w 304"/>
                <a:gd name="T25" fmla="*/ 355 h 380"/>
                <a:gd name="T26" fmla="*/ 60 w 304"/>
                <a:gd name="T27" fmla="*/ 360 h 380"/>
                <a:gd name="T28" fmla="*/ 42 w 304"/>
                <a:gd name="T29" fmla="*/ 367 h 380"/>
                <a:gd name="T30" fmla="*/ 20 w 304"/>
                <a:gd name="T31" fmla="*/ 374 h 380"/>
                <a:gd name="T32" fmla="*/ 19 w 304"/>
                <a:gd name="T33" fmla="*/ 372 h 380"/>
                <a:gd name="T34" fmla="*/ 40 w 304"/>
                <a:gd name="T35" fmla="*/ 362 h 380"/>
                <a:gd name="T36" fmla="*/ 57 w 304"/>
                <a:gd name="T37" fmla="*/ 354 h 380"/>
                <a:gd name="T38" fmla="*/ 67 w 304"/>
                <a:gd name="T39" fmla="*/ 348 h 380"/>
                <a:gd name="T40" fmla="*/ 96 w 304"/>
                <a:gd name="T41" fmla="*/ 328 h 380"/>
                <a:gd name="T42" fmla="*/ 142 w 304"/>
                <a:gd name="T43" fmla="*/ 288 h 380"/>
                <a:gd name="T44" fmla="*/ 156 w 304"/>
                <a:gd name="T45" fmla="*/ 273 h 380"/>
                <a:gd name="T46" fmla="*/ 170 w 304"/>
                <a:gd name="T47" fmla="*/ 256 h 380"/>
                <a:gd name="T48" fmla="*/ 195 w 304"/>
                <a:gd name="T49" fmla="*/ 221 h 380"/>
                <a:gd name="T50" fmla="*/ 206 w 304"/>
                <a:gd name="T51" fmla="*/ 202 h 380"/>
                <a:gd name="T52" fmla="*/ 215 w 304"/>
                <a:gd name="T53" fmla="*/ 184 h 380"/>
                <a:gd name="T54" fmla="*/ 227 w 304"/>
                <a:gd name="T55" fmla="*/ 156 h 380"/>
                <a:gd name="T56" fmla="*/ 236 w 304"/>
                <a:gd name="T57" fmla="*/ 129 h 380"/>
                <a:gd name="T58" fmla="*/ 244 w 304"/>
                <a:gd name="T59" fmla="*/ 95 h 380"/>
                <a:gd name="T60" fmla="*/ 249 w 304"/>
                <a:gd name="T61" fmla="*/ 68 h 380"/>
                <a:gd name="T62" fmla="*/ 251 w 304"/>
                <a:gd name="T63" fmla="*/ 45 h 380"/>
                <a:gd name="T64" fmla="*/ 279 w 304"/>
                <a:gd name="T65" fmla="*/ 0 h 380"/>
                <a:gd name="T66" fmla="*/ 303 w 304"/>
                <a:gd name="T67" fmla="*/ 3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4" h="380">
                  <a:moveTo>
                    <a:pt x="303" y="30"/>
                  </a:moveTo>
                  <a:cubicBezTo>
                    <a:pt x="303" y="30"/>
                    <a:pt x="302" y="38"/>
                    <a:pt x="300" y="51"/>
                  </a:cubicBezTo>
                  <a:cubicBezTo>
                    <a:pt x="300" y="54"/>
                    <a:pt x="299" y="57"/>
                    <a:pt x="298" y="61"/>
                  </a:cubicBezTo>
                  <a:cubicBezTo>
                    <a:pt x="297" y="66"/>
                    <a:pt x="296" y="70"/>
                    <a:pt x="295" y="75"/>
                  </a:cubicBezTo>
                  <a:cubicBezTo>
                    <a:pt x="294" y="80"/>
                    <a:pt x="293" y="85"/>
                    <a:pt x="292" y="90"/>
                  </a:cubicBezTo>
                  <a:cubicBezTo>
                    <a:pt x="290" y="96"/>
                    <a:pt x="288" y="101"/>
                    <a:pt x="287" y="107"/>
                  </a:cubicBezTo>
                  <a:cubicBezTo>
                    <a:pt x="285" y="112"/>
                    <a:pt x="283" y="118"/>
                    <a:pt x="281" y="124"/>
                  </a:cubicBezTo>
                  <a:cubicBezTo>
                    <a:pt x="278" y="130"/>
                    <a:pt x="276" y="136"/>
                    <a:pt x="274" y="142"/>
                  </a:cubicBezTo>
                  <a:cubicBezTo>
                    <a:pt x="271" y="148"/>
                    <a:pt x="268" y="155"/>
                    <a:pt x="265" y="161"/>
                  </a:cubicBezTo>
                  <a:cubicBezTo>
                    <a:pt x="263" y="164"/>
                    <a:pt x="262" y="167"/>
                    <a:pt x="260" y="171"/>
                  </a:cubicBezTo>
                  <a:cubicBezTo>
                    <a:pt x="259" y="174"/>
                    <a:pt x="257" y="177"/>
                    <a:pt x="255" y="180"/>
                  </a:cubicBezTo>
                  <a:cubicBezTo>
                    <a:pt x="252" y="187"/>
                    <a:pt x="248" y="193"/>
                    <a:pt x="244" y="199"/>
                  </a:cubicBezTo>
                  <a:cubicBezTo>
                    <a:pt x="242" y="203"/>
                    <a:pt x="240" y="206"/>
                    <a:pt x="238" y="209"/>
                  </a:cubicBezTo>
                  <a:cubicBezTo>
                    <a:pt x="236" y="212"/>
                    <a:pt x="234" y="215"/>
                    <a:pt x="232" y="218"/>
                  </a:cubicBezTo>
                  <a:cubicBezTo>
                    <a:pt x="230" y="221"/>
                    <a:pt x="227" y="225"/>
                    <a:pt x="225" y="228"/>
                  </a:cubicBezTo>
                  <a:cubicBezTo>
                    <a:pt x="223" y="231"/>
                    <a:pt x="220" y="234"/>
                    <a:pt x="218" y="237"/>
                  </a:cubicBezTo>
                  <a:cubicBezTo>
                    <a:pt x="213" y="243"/>
                    <a:pt x="209" y="249"/>
                    <a:pt x="204" y="255"/>
                  </a:cubicBezTo>
                  <a:cubicBezTo>
                    <a:pt x="198" y="260"/>
                    <a:pt x="193" y="266"/>
                    <a:pt x="188" y="272"/>
                  </a:cubicBezTo>
                  <a:cubicBezTo>
                    <a:pt x="185" y="274"/>
                    <a:pt x="183" y="277"/>
                    <a:pt x="180" y="280"/>
                  </a:cubicBezTo>
                  <a:cubicBezTo>
                    <a:pt x="177" y="282"/>
                    <a:pt x="174" y="285"/>
                    <a:pt x="171" y="287"/>
                  </a:cubicBezTo>
                  <a:cubicBezTo>
                    <a:pt x="169" y="290"/>
                    <a:pt x="166" y="292"/>
                    <a:pt x="163" y="295"/>
                  </a:cubicBezTo>
                  <a:cubicBezTo>
                    <a:pt x="160" y="297"/>
                    <a:pt x="157" y="300"/>
                    <a:pt x="155" y="302"/>
                  </a:cubicBezTo>
                  <a:cubicBezTo>
                    <a:pt x="149" y="307"/>
                    <a:pt x="143" y="311"/>
                    <a:pt x="137" y="315"/>
                  </a:cubicBezTo>
                  <a:cubicBezTo>
                    <a:pt x="126" y="323"/>
                    <a:pt x="115" y="332"/>
                    <a:pt x="103" y="338"/>
                  </a:cubicBezTo>
                  <a:cubicBezTo>
                    <a:pt x="97" y="341"/>
                    <a:pt x="92" y="344"/>
                    <a:pt x="87" y="347"/>
                  </a:cubicBezTo>
                  <a:cubicBezTo>
                    <a:pt x="81" y="350"/>
                    <a:pt x="76" y="352"/>
                    <a:pt x="71" y="355"/>
                  </a:cubicBezTo>
                  <a:cubicBezTo>
                    <a:pt x="68" y="356"/>
                    <a:pt x="66" y="357"/>
                    <a:pt x="63" y="358"/>
                  </a:cubicBezTo>
                  <a:cubicBezTo>
                    <a:pt x="62" y="359"/>
                    <a:pt x="61" y="359"/>
                    <a:pt x="60" y="360"/>
                  </a:cubicBezTo>
                  <a:cubicBezTo>
                    <a:pt x="58" y="360"/>
                    <a:pt x="57" y="361"/>
                    <a:pt x="56" y="361"/>
                  </a:cubicBezTo>
                  <a:cubicBezTo>
                    <a:pt x="51" y="363"/>
                    <a:pt x="47" y="365"/>
                    <a:pt x="42" y="367"/>
                  </a:cubicBezTo>
                  <a:cubicBezTo>
                    <a:pt x="38" y="368"/>
                    <a:pt x="34" y="370"/>
                    <a:pt x="30" y="371"/>
                  </a:cubicBezTo>
                  <a:cubicBezTo>
                    <a:pt x="27" y="372"/>
                    <a:pt x="23" y="373"/>
                    <a:pt x="20" y="374"/>
                  </a:cubicBezTo>
                  <a:cubicBezTo>
                    <a:pt x="7" y="378"/>
                    <a:pt x="0" y="380"/>
                    <a:pt x="0" y="380"/>
                  </a:cubicBezTo>
                  <a:cubicBezTo>
                    <a:pt x="0" y="380"/>
                    <a:pt x="7" y="377"/>
                    <a:pt x="19" y="372"/>
                  </a:cubicBezTo>
                  <a:cubicBezTo>
                    <a:pt x="22" y="371"/>
                    <a:pt x="26" y="370"/>
                    <a:pt x="29" y="368"/>
                  </a:cubicBezTo>
                  <a:cubicBezTo>
                    <a:pt x="33" y="366"/>
                    <a:pt x="36" y="364"/>
                    <a:pt x="40" y="362"/>
                  </a:cubicBezTo>
                  <a:cubicBezTo>
                    <a:pt x="44" y="360"/>
                    <a:pt x="49" y="358"/>
                    <a:pt x="53" y="356"/>
                  </a:cubicBezTo>
                  <a:cubicBezTo>
                    <a:pt x="54" y="355"/>
                    <a:pt x="55" y="354"/>
                    <a:pt x="57" y="354"/>
                  </a:cubicBezTo>
                  <a:cubicBezTo>
                    <a:pt x="58" y="353"/>
                    <a:pt x="59" y="352"/>
                    <a:pt x="60" y="352"/>
                  </a:cubicBezTo>
                  <a:cubicBezTo>
                    <a:pt x="62" y="350"/>
                    <a:pt x="64" y="349"/>
                    <a:pt x="67" y="348"/>
                  </a:cubicBezTo>
                  <a:cubicBezTo>
                    <a:pt x="72" y="345"/>
                    <a:pt x="76" y="342"/>
                    <a:pt x="81" y="338"/>
                  </a:cubicBezTo>
                  <a:cubicBezTo>
                    <a:pt x="86" y="335"/>
                    <a:pt x="91" y="331"/>
                    <a:pt x="96" y="328"/>
                  </a:cubicBezTo>
                  <a:cubicBezTo>
                    <a:pt x="107" y="321"/>
                    <a:pt x="117" y="311"/>
                    <a:pt x="127" y="303"/>
                  </a:cubicBezTo>
                  <a:cubicBezTo>
                    <a:pt x="132" y="298"/>
                    <a:pt x="137" y="293"/>
                    <a:pt x="142" y="288"/>
                  </a:cubicBezTo>
                  <a:cubicBezTo>
                    <a:pt x="144" y="286"/>
                    <a:pt x="147" y="283"/>
                    <a:pt x="149" y="281"/>
                  </a:cubicBezTo>
                  <a:cubicBezTo>
                    <a:pt x="152" y="278"/>
                    <a:pt x="154" y="275"/>
                    <a:pt x="156" y="273"/>
                  </a:cubicBezTo>
                  <a:cubicBezTo>
                    <a:pt x="159" y="270"/>
                    <a:pt x="161" y="267"/>
                    <a:pt x="163" y="264"/>
                  </a:cubicBezTo>
                  <a:cubicBezTo>
                    <a:pt x="166" y="262"/>
                    <a:pt x="168" y="259"/>
                    <a:pt x="170" y="256"/>
                  </a:cubicBezTo>
                  <a:cubicBezTo>
                    <a:pt x="175" y="250"/>
                    <a:pt x="179" y="244"/>
                    <a:pt x="183" y="239"/>
                  </a:cubicBezTo>
                  <a:cubicBezTo>
                    <a:pt x="187" y="233"/>
                    <a:pt x="191" y="227"/>
                    <a:pt x="195" y="221"/>
                  </a:cubicBezTo>
                  <a:cubicBezTo>
                    <a:pt x="197" y="218"/>
                    <a:pt x="199" y="215"/>
                    <a:pt x="200" y="212"/>
                  </a:cubicBezTo>
                  <a:cubicBezTo>
                    <a:pt x="202" y="208"/>
                    <a:pt x="204" y="205"/>
                    <a:pt x="206" y="202"/>
                  </a:cubicBezTo>
                  <a:cubicBezTo>
                    <a:pt x="207" y="199"/>
                    <a:pt x="209" y="196"/>
                    <a:pt x="210" y="193"/>
                  </a:cubicBezTo>
                  <a:cubicBezTo>
                    <a:pt x="212" y="190"/>
                    <a:pt x="214" y="187"/>
                    <a:pt x="215" y="184"/>
                  </a:cubicBezTo>
                  <a:cubicBezTo>
                    <a:pt x="218" y="177"/>
                    <a:pt x="221" y="171"/>
                    <a:pt x="223" y="165"/>
                  </a:cubicBezTo>
                  <a:cubicBezTo>
                    <a:pt x="225" y="162"/>
                    <a:pt x="226" y="159"/>
                    <a:pt x="227" y="156"/>
                  </a:cubicBezTo>
                  <a:cubicBezTo>
                    <a:pt x="228" y="153"/>
                    <a:pt x="229" y="150"/>
                    <a:pt x="230" y="146"/>
                  </a:cubicBezTo>
                  <a:cubicBezTo>
                    <a:pt x="232" y="140"/>
                    <a:pt x="235" y="135"/>
                    <a:pt x="236" y="129"/>
                  </a:cubicBezTo>
                  <a:cubicBezTo>
                    <a:pt x="238" y="123"/>
                    <a:pt x="239" y="117"/>
                    <a:pt x="241" y="112"/>
                  </a:cubicBezTo>
                  <a:cubicBezTo>
                    <a:pt x="242" y="106"/>
                    <a:pt x="243" y="101"/>
                    <a:pt x="244" y="95"/>
                  </a:cubicBezTo>
                  <a:cubicBezTo>
                    <a:pt x="245" y="90"/>
                    <a:pt x="246" y="85"/>
                    <a:pt x="247" y="81"/>
                  </a:cubicBezTo>
                  <a:cubicBezTo>
                    <a:pt x="248" y="76"/>
                    <a:pt x="248" y="72"/>
                    <a:pt x="249" y="68"/>
                  </a:cubicBezTo>
                  <a:cubicBezTo>
                    <a:pt x="249" y="63"/>
                    <a:pt x="250" y="60"/>
                    <a:pt x="250" y="56"/>
                  </a:cubicBezTo>
                  <a:cubicBezTo>
                    <a:pt x="250" y="52"/>
                    <a:pt x="250" y="49"/>
                    <a:pt x="251" y="45"/>
                  </a:cubicBezTo>
                  <a:cubicBezTo>
                    <a:pt x="251" y="32"/>
                    <a:pt x="252" y="25"/>
                    <a:pt x="252" y="25"/>
                  </a:cubicBezTo>
                  <a:cubicBezTo>
                    <a:pt x="252" y="11"/>
                    <a:pt x="265" y="0"/>
                    <a:pt x="279" y="0"/>
                  </a:cubicBezTo>
                  <a:cubicBezTo>
                    <a:pt x="293" y="1"/>
                    <a:pt x="304" y="13"/>
                    <a:pt x="304" y="28"/>
                  </a:cubicBezTo>
                  <a:cubicBezTo>
                    <a:pt x="304" y="29"/>
                    <a:pt x="303" y="29"/>
                    <a:pt x="303" y="30"/>
                  </a:cubicBezTo>
                  <a:close/>
                </a:path>
              </a:pathLst>
            </a:custGeom>
            <a:solidFill>
              <a:schemeClr val="bg1">
                <a:lumMod val="65000"/>
              </a:schemeClr>
            </a:solidFill>
            <a:ln>
              <a:noFill/>
            </a:ln>
          </p:spPr>
          <p:txBody>
            <a:bodyPr vert="horz" wrap="square" lIns="91440" tIns="45720" rIns="91440" bIns="45720" numCol="1" anchor="t" anchorCtr="0" compatLnSpc="1">
              <a:normAutofit fontScale="55000" lnSpcReduction="20000"/>
            </a:bodyPr>
            <a:lstStyle/>
            <a:p>
              <a:endParaRPr lang="en-US" sz="3600">
                <a:cs typeface="+mn-ea"/>
                <a:sym typeface="+mn-lt"/>
              </a:endParaRPr>
            </a:p>
          </p:txBody>
        </p:sp>
        <p:sp>
          <p:nvSpPr>
            <p:cNvPr id="191" name="iŝľíďe"/>
            <p:cNvSpPr/>
            <p:nvPr/>
          </p:nvSpPr>
          <p:spPr bwMode="auto">
            <a:xfrm>
              <a:off x="6441354" y="1727003"/>
              <a:ext cx="178070" cy="163327"/>
            </a:xfrm>
            <a:custGeom>
              <a:avLst/>
              <a:gdLst>
                <a:gd name="T0" fmla="*/ 0 w 157"/>
                <a:gd name="T1" fmla="*/ 144 h 144"/>
                <a:gd name="T2" fmla="*/ 66 w 157"/>
                <a:gd name="T3" fmla="*/ 0 h 144"/>
                <a:gd name="T4" fmla="*/ 157 w 157"/>
                <a:gd name="T5" fmla="*/ 130 h 144"/>
                <a:gd name="T6" fmla="*/ 0 w 157"/>
                <a:gd name="T7" fmla="*/ 144 h 144"/>
              </a:gdLst>
              <a:ahLst/>
              <a:cxnLst>
                <a:cxn ang="0">
                  <a:pos x="T0" y="T1"/>
                </a:cxn>
                <a:cxn ang="0">
                  <a:pos x="T2" y="T3"/>
                </a:cxn>
                <a:cxn ang="0">
                  <a:pos x="T4" y="T5"/>
                </a:cxn>
                <a:cxn ang="0">
                  <a:pos x="T6" y="T7"/>
                </a:cxn>
              </a:cxnLst>
              <a:rect l="0" t="0" r="r" b="b"/>
              <a:pathLst>
                <a:path w="157" h="144">
                  <a:moveTo>
                    <a:pt x="0" y="144"/>
                  </a:moveTo>
                  <a:lnTo>
                    <a:pt x="66" y="0"/>
                  </a:lnTo>
                  <a:lnTo>
                    <a:pt x="157" y="130"/>
                  </a:lnTo>
                  <a:lnTo>
                    <a:pt x="0" y="144"/>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2" name="iṣḷiḋé"/>
            <p:cNvSpPr/>
            <p:nvPr/>
          </p:nvSpPr>
          <p:spPr bwMode="auto">
            <a:xfrm>
              <a:off x="6071601" y="1727003"/>
              <a:ext cx="215500" cy="214367"/>
            </a:xfrm>
            <a:prstGeom prst="ellipse">
              <a:avLst/>
            </a:prstGeom>
            <a:noFill/>
            <a:ln w="73025"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3" name="iṡḷiḓe"/>
            <p:cNvSpPr/>
            <p:nvPr/>
          </p:nvSpPr>
          <p:spPr bwMode="auto">
            <a:xfrm>
              <a:off x="5704119" y="4468394"/>
              <a:ext cx="214365" cy="215500"/>
            </a:xfrm>
            <a:prstGeom prst="ellipse">
              <a:avLst/>
            </a:prstGeom>
            <a:noFill/>
            <a:ln w="66675"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grpSp>
        <p:nvGrpSpPr>
          <p:cNvPr id="216" name="组合 215"/>
          <p:cNvGrpSpPr/>
          <p:nvPr userDrawn="1"/>
        </p:nvGrpSpPr>
        <p:grpSpPr>
          <a:xfrm>
            <a:off x="3976717" y="3576135"/>
            <a:ext cx="1302013" cy="2567492"/>
            <a:chOff x="3976717" y="3576135"/>
            <a:chExt cx="1302013" cy="2567492"/>
          </a:xfrm>
        </p:grpSpPr>
        <p:sp>
          <p:nvSpPr>
            <p:cNvPr id="217" name="任意多边形: 形状 216"/>
            <p:cNvSpPr/>
            <p:nvPr/>
          </p:nvSpPr>
          <p:spPr bwMode="auto">
            <a:xfrm>
              <a:off x="3976717" y="3636466"/>
              <a:ext cx="1302013" cy="2507161"/>
            </a:xfrm>
            <a:custGeom>
              <a:avLst/>
              <a:gdLst>
                <a:gd name="connsiteX0" fmla="*/ 490545 w 1302013"/>
                <a:gd name="connsiteY0" fmla="*/ 58396 h 2507161"/>
                <a:gd name="connsiteX1" fmla="*/ 727028 w 1302013"/>
                <a:gd name="connsiteY1" fmla="*/ 294879 h 2507161"/>
                <a:gd name="connsiteX2" fmla="*/ 490545 w 1302013"/>
                <a:gd name="connsiteY2" fmla="*/ 531362 h 2507161"/>
                <a:gd name="connsiteX3" fmla="*/ 254062 w 1302013"/>
                <a:gd name="connsiteY3" fmla="*/ 294879 h 2507161"/>
                <a:gd name="connsiteX4" fmla="*/ 490545 w 1302013"/>
                <a:gd name="connsiteY4" fmla="*/ 58396 h 2507161"/>
                <a:gd name="connsiteX5" fmla="*/ 1214453 w 1302013"/>
                <a:gd name="connsiteY5" fmla="*/ 1902 h 2507161"/>
                <a:gd name="connsiteX6" fmla="*/ 1253986 w 1302013"/>
                <a:gd name="connsiteY6" fmla="*/ 17611 h 2507161"/>
                <a:gd name="connsiteX7" fmla="*/ 1284075 w 1302013"/>
                <a:gd name="connsiteY7" fmla="*/ 161613 h 2507161"/>
                <a:gd name="connsiteX8" fmla="*/ 787613 w 1302013"/>
                <a:gd name="connsiteY8" fmla="*/ 934628 h 2507161"/>
                <a:gd name="connsiteX9" fmla="*/ 784958 w 1302013"/>
                <a:gd name="connsiteY9" fmla="*/ 944346 h 2507161"/>
                <a:gd name="connsiteX10" fmla="*/ 784958 w 1302013"/>
                <a:gd name="connsiteY10" fmla="*/ 1610464 h 2507161"/>
                <a:gd name="connsiteX11" fmla="*/ 784958 w 1302013"/>
                <a:gd name="connsiteY11" fmla="*/ 1669655 h 2507161"/>
                <a:gd name="connsiteX12" fmla="*/ 784958 w 1302013"/>
                <a:gd name="connsiteY12" fmla="*/ 2391430 h 2507161"/>
                <a:gd name="connsiteX13" fmla="*/ 664604 w 1302013"/>
                <a:gd name="connsiteY13" fmla="*/ 2507161 h 2507161"/>
                <a:gd name="connsiteX14" fmla="*/ 662834 w 1302013"/>
                <a:gd name="connsiteY14" fmla="*/ 2507161 h 2507161"/>
                <a:gd name="connsiteX15" fmla="*/ 543365 w 1302013"/>
                <a:gd name="connsiteY15" fmla="*/ 2391430 h 2507161"/>
                <a:gd name="connsiteX16" fmla="*/ 543365 w 1302013"/>
                <a:gd name="connsiteY16" fmla="*/ 1686440 h 2507161"/>
                <a:gd name="connsiteX17" fmla="*/ 526550 w 1302013"/>
                <a:gd name="connsiteY17" fmla="*/ 1669655 h 2507161"/>
                <a:gd name="connsiteX18" fmla="*/ 509736 w 1302013"/>
                <a:gd name="connsiteY18" fmla="*/ 1669655 h 2507161"/>
                <a:gd name="connsiteX19" fmla="*/ 492922 w 1302013"/>
                <a:gd name="connsiteY19" fmla="*/ 1686440 h 2507161"/>
                <a:gd name="connsiteX20" fmla="*/ 492922 w 1302013"/>
                <a:gd name="connsiteY20" fmla="*/ 2391430 h 2507161"/>
                <a:gd name="connsiteX21" fmla="*/ 372568 w 1302013"/>
                <a:gd name="connsiteY21" fmla="*/ 2507161 h 2507161"/>
                <a:gd name="connsiteX22" fmla="*/ 370798 w 1302013"/>
                <a:gd name="connsiteY22" fmla="*/ 2507161 h 2507161"/>
                <a:gd name="connsiteX23" fmla="*/ 250443 w 1302013"/>
                <a:gd name="connsiteY23" fmla="*/ 2391430 h 2507161"/>
                <a:gd name="connsiteX24" fmla="*/ 250443 w 1302013"/>
                <a:gd name="connsiteY24" fmla="*/ 1669655 h 2507161"/>
                <a:gd name="connsiteX25" fmla="*/ 250443 w 1302013"/>
                <a:gd name="connsiteY25" fmla="*/ 1610464 h 2507161"/>
                <a:gd name="connsiteX26" fmla="*/ 250443 w 1302013"/>
                <a:gd name="connsiteY26" fmla="*/ 960248 h 2507161"/>
                <a:gd name="connsiteX27" fmla="*/ 232744 w 1302013"/>
                <a:gd name="connsiteY27" fmla="*/ 944346 h 2507161"/>
                <a:gd name="connsiteX28" fmla="*/ 217700 w 1302013"/>
                <a:gd name="connsiteY28" fmla="*/ 960248 h 2507161"/>
                <a:gd name="connsiteX29" fmla="*/ 217700 w 1302013"/>
                <a:gd name="connsiteY29" fmla="*/ 1498266 h 2507161"/>
                <a:gd name="connsiteX30" fmla="*/ 108850 w 1302013"/>
                <a:gd name="connsiteY30" fmla="*/ 1602513 h 2507161"/>
                <a:gd name="connsiteX31" fmla="*/ 0 w 1302013"/>
                <a:gd name="connsiteY31" fmla="*/ 1498266 h 2507161"/>
                <a:gd name="connsiteX32" fmla="*/ 0 w 1302013"/>
                <a:gd name="connsiteY32" fmla="*/ 1019439 h 2507161"/>
                <a:gd name="connsiteX33" fmla="*/ 0 w 1302013"/>
                <a:gd name="connsiteY33" fmla="*/ 890456 h 2507161"/>
                <a:gd name="connsiteX34" fmla="*/ 0 w 1302013"/>
                <a:gd name="connsiteY34" fmla="*/ 636023 h 2507161"/>
                <a:gd name="connsiteX35" fmla="*/ 16814 w 1302013"/>
                <a:gd name="connsiteY35" fmla="*/ 619238 h 2507161"/>
                <a:gd name="connsiteX36" fmla="*/ 738940 w 1302013"/>
                <a:gd name="connsiteY36" fmla="*/ 619238 h 2507161"/>
                <a:gd name="connsiteX37" fmla="*/ 753100 w 1302013"/>
                <a:gd name="connsiteY37" fmla="*/ 611287 h 2507161"/>
                <a:gd name="connsiteX38" fmla="*/ 1105313 w 1302013"/>
                <a:gd name="connsiteY38" fmla="*/ 45881 h 2507161"/>
                <a:gd name="connsiteX39" fmla="*/ 1214453 w 1302013"/>
                <a:gd name="connsiteY39" fmla="*/ 1902 h 250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02013" h="2507161">
                  <a:moveTo>
                    <a:pt x="490545" y="58396"/>
                  </a:moveTo>
                  <a:cubicBezTo>
                    <a:pt x="621151" y="58396"/>
                    <a:pt x="727028" y="164273"/>
                    <a:pt x="727028" y="294879"/>
                  </a:cubicBezTo>
                  <a:cubicBezTo>
                    <a:pt x="727028" y="425485"/>
                    <a:pt x="621151" y="531362"/>
                    <a:pt x="490545" y="531362"/>
                  </a:cubicBezTo>
                  <a:cubicBezTo>
                    <a:pt x="359939" y="531362"/>
                    <a:pt x="254062" y="425485"/>
                    <a:pt x="254062" y="294879"/>
                  </a:cubicBezTo>
                  <a:cubicBezTo>
                    <a:pt x="254062" y="164273"/>
                    <a:pt x="359939" y="58396"/>
                    <a:pt x="490545" y="58396"/>
                  </a:cubicBezTo>
                  <a:close/>
                  <a:moveTo>
                    <a:pt x="1214453" y="1902"/>
                  </a:moveTo>
                  <a:cubicBezTo>
                    <a:pt x="1228156" y="4470"/>
                    <a:pt x="1241597" y="9660"/>
                    <a:pt x="1253986" y="17611"/>
                  </a:cubicBezTo>
                  <a:cubicBezTo>
                    <a:pt x="1303544" y="49415"/>
                    <a:pt x="1316818" y="113907"/>
                    <a:pt x="1284075" y="161613"/>
                  </a:cubicBezTo>
                  <a:cubicBezTo>
                    <a:pt x="787613" y="934628"/>
                    <a:pt x="787613" y="934628"/>
                    <a:pt x="787613" y="934628"/>
                  </a:cubicBezTo>
                  <a:cubicBezTo>
                    <a:pt x="785843" y="937278"/>
                    <a:pt x="784958" y="940812"/>
                    <a:pt x="784958" y="944346"/>
                  </a:cubicBezTo>
                  <a:cubicBezTo>
                    <a:pt x="784958" y="1610464"/>
                    <a:pt x="784958" y="1610464"/>
                    <a:pt x="784958" y="1610464"/>
                  </a:cubicBezTo>
                  <a:cubicBezTo>
                    <a:pt x="784958" y="1669655"/>
                    <a:pt x="784958" y="1669655"/>
                    <a:pt x="784958" y="1669655"/>
                  </a:cubicBezTo>
                  <a:cubicBezTo>
                    <a:pt x="784958" y="2391430"/>
                    <a:pt x="784958" y="2391430"/>
                    <a:pt x="784958" y="2391430"/>
                  </a:cubicBezTo>
                  <a:cubicBezTo>
                    <a:pt x="784958" y="2455038"/>
                    <a:pt x="730976" y="2507161"/>
                    <a:pt x="664604" y="2507161"/>
                  </a:cubicBezTo>
                  <a:cubicBezTo>
                    <a:pt x="662834" y="2507161"/>
                    <a:pt x="662834" y="2507161"/>
                    <a:pt x="662834" y="2507161"/>
                  </a:cubicBezTo>
                  <a:cubicBezTo>
                    <a:pt x="597347" y="2507161"/>
                    <a:pt x="543365" y="2455038"/>
                    <a:pt x="543365" y="2391430"/>
                  </a:cubicBezTo>
                  <a:cubicBezTo>
                    <a:pt x="543365" y="1686440"/>
                    <a:pt x="543365" y="1686440"/>
                    <a:pt x="543365" y="1686440"/>
                  </a:cubicBezTo>
                  <a:cubicBezTo>
                    <a:pt x="543365" y="1676722"/>
                    <a:pt x="535400" y="1669655"/>
                    <a:pt x="526550" y="1669655"/>
                  </a:cubicBezTo>
                  <a:cubicBezTo>
                    <a:pt x="509736" y="1669655"/>
                    <a:pt x="509736" y="1669655"/>
                    <a:pt x="509736" y="1669655"/>
                  </a:cubicBezTo>
                  <a:cubicBezTo>
                    <a:pt x="500002" y="1669655"/>
                    <a:pt x="492922" y="1676722"/>
                    <a:pt x="492922" y="1686440"/>
                  </a:cubicBezTo>
                  <a:cubicBezTo>
                    <a:pt x="492922" y="2391430"/>
                    <a:pt x="492922" y="2391430"/>
                    <a:pt x="492922" y="2391430"/>
                  </a:cubicBezTo>
                  <a:cubicBezTo>
                    <a:pt x="492922" y="2455038"/>
                    <a:pt x="438055" y="2507161"/>
                    <a:pt x="372568" y="2507161"/>
                  </a:cubicBezTo>
                  <a:cubicBezTo>
                    <a:pt x="370798" y="2507161"/>
                    <a:pt x="370798" y="2507161"/>
                    <a:pt x="370798" y="2507161"/>
                  </a:cubicBezTo>
                  <a:cubicBezTo>
                    <a:pt x="304426" y="2507161"/>
                    <a:pt x="250443" y="2455038"/>
                    <a:pt x="250443" y="2391430"/>
                  </a:cubicBezTo>
                  <a:cubicBezTo>
                    <a:pt x="250443" y="1669655"/>
                    <a:pt x="250443" y="1669655"/>
                    <a:pt x="250443" y="1669655"/>
                  </a:cubicBezTo>
                  <a:cubicBezTo>
                    <a:pt x="250443" y="1610464"/>
                    <a:pt x="250443" y="1610464"/>
                    <a:pt x="250443" y="1610464"/>
                  </a:cubicBezTo>
                  <a:cubicBezTo>
                    <a:pt x="250443" y="960248"/>
                    <a:pt x="250443" y="960248"/>
                    <a:pt x="250443" y="960248"/>
                  </a:cubicBezTo>
                  <a:cubicBezTo>
                    <a:pt x="250443" y="950530"/>
                    <a:pt x="242479" y="943462"/>
                    <a:pt x="232744" y="944346"/>
                  </a:cubicBezTo>
                  <a:cubicBezTo>
                    <a:pt x="223895" y="945229"/>
                    <a:pt x="217700" y="952297"/>
                    <a:pt x="217700" y="960248"/>
                  </a:cubicBezTo>
                  <a:cubicBezTo>
                    <a:pt x="217700" y="1498266"/>
                    <a:pt x="217700" y="1498266"/>
                    <a:pt x="217700" y="1498266"/>
                  </a:cubicBezTo>
                  <a:cubicBezTo>
                    <a:pt x="217700" y="1556574"/>
                    <a:pt x="168142" y="1602513"/>
                    <a:pt x="108850" y="1602513"/>
                  </a:cubicBezTo>
                  <a:cubicBezTo>
                    <a:pt x="49558" y="1602513"/>
                    <a:pt x="0" y="1556574"/>
                    <a:pt x="0" y="1498266"/>
                  </a:cubicBezTo>
                  <a:cubicBezTo>
                    <a:pt x="0" y="1019439"/>
                    <a:pt x="0" y="1019439"/>
                    <a:pt x="0" y="1019439"/>
                  </a:cubicBezTo>
                  <a:cubicBezTo>
                    <a:pt x="0" y="890456"/>
                    <a:pt x="0" y="890456"/>
                    <a:pt x="0" y="890456"/>
                  </a:cubicBezTo>
                  <a:cubicBezTo>
                    <a:pt x="0" y="636023"/>
                    <a:pt x="0" y="636023"/>
                    <a:pt x="0" y="636023"/>
                  </a:cubicBezTo>
                  <a:cubicBezTo>
                    <a:pt x="0" y="627189"/>
                    <a:pt x="7965" y="619238"/>
                    <a:pt x="16814" y="619238"/>
                  </a:cubicBezTo>
                  <a:lnTo>
                    <a:pt x="738940" y="619238"/>
                  </a:lnTo>
                  <a:cubicBezTo>
                    <a:pt x="744250" y="619238"/>
                    <a:pt x="749560" y="616587"/>
                    <a:pt x="753100" y="611287"/>
                  </a:cubicBezTo>
                  <a:cubicBezTo>
                    <a:pt x="1105313" y="45881"/>
                    <a:pt x="1105313" y="45881"/>
                    <a:pt x="1105313" y="45881"/>
                  </a:cubicBezTo>
                  <a:cubicBezTo>
                    <a:pt x="1129871" y="10102"/>
                    <a:pt x="1173344" y="-5800"/>
                    <a:pt x="1214453" y="1902"/>
                  </a:cubicBezTo>
                  <a:close/>
                </a:path>
              </a:pathLst>
            </a:custGeom>
            <a:solidFill>
              <a:schemeClr val="accent1"/>
            </a:solidFill>
            <a:ln>
              <a:noFill/>
            </a:ln>
          </p:spPr>
          <p:txBody>
            <a:bodyPr vert="horz" wrap="square" lIns="91440" tIns="45720" rIns="91440" bIns="45720" numCol="1" anchor="t" anchorCtr="0" compatLnSpc="1">
              <a:noAutofit/>
            </a:bodyPr>
            <a:lstStyle/>
            <a:p>
              <a:endParaRPr lang="en-US" sz="3600">
                <a:cs typeface="+mn-ea"/>
                <a:sym typeface="+mn-lt"/>
              </a:endParaRPr>
            </a:p>
          </p:txBody>
        </p:sp>
        <p:sp>
          <p:nvSpPr>
            <p:cNvPr id="218" name="î$ḷiḓè"/>
            <p:cNvSpPr/>
            <p:nvPr/>
          </p:nvSpPr>
          <p:spPr bwMode="auto">
            <a:xfrm>
              <a:off x="4166129" y="3576135"/>
              <a:ext cx="629487" cy="331190"/>
            </a:xfrm>
            <a:custGeom>
              <a:avLst/>
              <a:gdLst>
                <a:gd name="T0" fmla="*/ 51 w 711"/>
                <a:gd name="T1" fmla="*/ 375 h 375"/>
                <a:gd name="T2" fmla="*/ 0 w 711"/>
                <a:gd name="T3" fmla="*/ 323 h 375"/>
                <a:gd name="T4" fmla="*/ 21 w 711"/>
                <a:gd name="T5" fmla="*/ 281 h 375"/>
                <a:gd name="T6" fmla="*/ 334 w 711"/>
                <a:gd name="T7" fmla="*/ 0 h 375"/>
                <a:gd name="T8" fmla="*/ 646 w 711"/>
                <a:gd name="T9" fmla="*/ 271 h 375"/>
                <a:gd name="T10" fmla="*/ 660 w 711"/>
                <a:gd name="T11" fmla="*/ 271 h 375"/>
                <a:gd name="T12" fmla="*/ 711 w 711"/>
                <a:gd name="T13" fmla="*/ 323 h 375"/>
                <a:gd name="T14" fmla="*/ 660 w 711"/>
                <a:gd name="T15" fmla="*/ 375 h 375"/>
                <a:gd name="T16" fmla="*/ 51 w 711"/>
                <a:gd name="T17"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375">
                  <a:moveTo>
                    <a:pt x="51" y="375"/>
                  </a:moveTo>
                  <a:cubicBezTo>
                    <a:pt x="23" y="375"/>
                    <a:pt x="0" y="351"/>
                    <a:pt x="0" y="323"/>
                  </a:cubicBezTo>
                  <a:cubicBezTo>
                    <a:pt x="0" y="306"/>
                    <a:pt x="8" y="291"/>
                    <a:pt x="21" y="281"/>
                  </a:cubicBezTo>
                  <a:cubicBezTo>
                    <a:pt x="41" y="120"/>
                    <a:pt x="172" y="0"/>
                    <a:pt x="334" y="0"/>
                  </a:cubicBezTo>
                  <a:cubicBezTo>
                    <a:pt x="492" y="0"/>
                    <a:pt x="622" y="115"/>
                    <a:pt x="646" y="271"/>
                  </a:cubicBezTo>
                  <a:cubicBezTo>
                    <a:pt x="660" y="271"/>
                    <a:pt x="660" y="271"/>
                    <a:pt x="660" y="271"/>
                  </a:cubicBezTo>
                  <a:cubicBezTo>
                    <a:pt x="688" y="271"/>
                    <a:pt x="711" y="295"/>
                    <a:pt x="711" y="323"/>
                  </a:cubicBezTo>
                  <a:cubicBezTo>
                    <a:pt x="711" y="351"/>
                    <a:pt x="688" y="375"/>
                    <a:pt x="660" y="375"/>
                  </a:cubicBezTo>
                  <a:lnTo>
                    <a:pt x="51" y="375"/>
                  </a:lnTo>
                  <a:close/>
                </a:path>
              </a:pathLst>
            </a:custGeom>
            <a:solidFill>
              <a:schemeClr val="bg1"/>
            </a:solidFill>
            <a:ln w="38100">
              <a:solidFill>
                <a:schemeClr val="accent1"/>
              </a:solid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grpSp>
      <p:grpSp>
        <p:nvGrpSpPr>
          <p:cNvPr id="219" name="组合 218"/>
          <p:cNvGrpSpPr/>
          <p:nvPr userDrawn="1"/>
        </p:nvGrpSpPr>
        <p:grpSpPr>
          <a:xfrm>
            <a:off x="6686933" y="3698263"/>
            <a:ext cx="1528326" cy="2439691"/>
            <a:chOff x="6686933" y="3698263"/>
            <a:chExt cx="1528326" cy="2439691"/>
          </a:xfrm>
        </p:grpSpPr>
        <p:sp>
          <p:nvSpPr>
            <p:cNvPr id="220" name="任意多边形: 形状 219"/>
            <p:cNvSpPr/>
            <p:nvPr/>
          </p:nvSpPr>
          <p:spPr bwMode="auto">
            <a:xfrm>
              <a:off x="6686933" y="3698263"/>
              <a:ext cx="1528326" cy="2439691"/>
            </a:xfrm>
            <a:custGeom>
              <a:avLst/>
              <a:gdLst>
                <a:gd name="connsiteX0" fmla="*/ 691057 w 1528326"/>
                <a:gd name="connsiteY0" fmla="*/ 548959 h 2439691"/>
                <a:gd name="connsiteX1" fmla="*/ 1517705 w 1528326"/>
                <a:gd name="connsiteY1" fmla="*/ 548959 h 2439691"/>
                <a:gd name="connsiteX2" fmla="*/ 1528326 w 1528326"/>
                <a:gd name="connsiteY2" fmla="*/ 559561 h 2439691"/>
                <a:gd name="connsiteX3" fmla="*/ 1528326 w 1528326"/>
                <a:gd name="connsiteY3" fmla="*/ 821967 h 2439691"/>
                <a:gd name="connsiteX4" fmla="*/ 1528326 w 1528326"/>
                <a:gd name="connsiteY4" fmla="*/ 950961 h 2439691"/>
                <a:gd name="connsiteX5" fmla="*/ 1528326 w 1528326"/>
                <a:gd name="connsiteY5" fmla="*/ 1429828 h 2439691"/>
                <a:gd name="connsiteX6" fmla="*/ 1419464 w 1528326"/>
                <a:gd name="connsiteY6" fmla="*/ 1534084 h 2439691"/>
                <a:gd name="connsiteX7" fmla="*/ 1309716 w 1528326"/>
                <a:gd name="connsiteY7" fmla="*/ 1429828 h 2439691"/>
                <a:gd name="connsiteX8" fmla="*/ 1309716 w 1528326"/>
                <a:gd name="connsiteY8" fmla="*/ 891765 h 2439691"/>
                <a:gd name="connsiteX9" fmla="*/ 1295555 w 1528326"/>
                <a:gd name="connsiteY9" fmla="*/ 875861 h 2439691"/>
                <a:gd name="connsiteX10" fmla="*/ 1277854 w 1528326"/>
                <a:gd name="connsiteY10" fmla="*/ 891765 h 2439691"/>
                <a:gd name="connsiteX11" fmla="*/ 1277854 w 1528326"/>
                <a:gd name="connsiteY11" fmla="*/ 1542035 h 2439691"/>
                <a:gd name="connsiteX12" fmla="*/ 1277854 w 1528326"/>
                <a:gd name="connsiteY12" fmla="*/ 1601231 h 2439691"/>
                <a:gd name="connsiteX13" fmla="*/ 1277854 w 1528326"/>
                <a:gd name="connsiteY13" fmla="*/ 2323067 h 2439691"/>
                <a:gd name="connsiteX14" fmla="*/ 1158370 w 1528326"/>
                <a:gd name="connsiteY14" fmla="*/ 2439691 h 2439691"/>
                <a:gd name="connsiteX15" fmla="*/ 1156600 w 1528326"/>
                <a:gd name="connsiteY15" fmla="*/ 2439691 h 2439691"/>
                <a:gd name="connsiteX16" fmla="*/ 1037117 w 1528326"/>
                <a:gd name="connsiteY16" fmla="*/ 2323067 h 2439691"/>
                <a:gd name="connsiteX17" fmla="*/ 1037117 w 1528326"/>
                <a:gd name="connsiteY17" fmla="*/ 1612717 h 2439691"/>
                <a:gd name="connsiteX18" fmla="*/ 1026496 w 1528326"/>
                <a:gd name="connsiteY18" fmla="*/ 1602115 h 2439691"/>
                <a:gd name="connsiteX19" fmla="*/ 998174 w 1528326"/>
                <a:gd name="connsiteY19" fmla="*/ 1602115 h 2439691"/>
                <a:gd name="connsiteX20" fmla="*/ 986668 w 1528326"/>
                <a:gd name="connsiteY20" fmla="*/ 1612717 h 2439691"/>
                <a:gd name="connsiteX21" fmla="*/ 986668 w 1528326"/>
                <a:gd name="connsiteY21" fmla="*/ 2323067 h 2439691"/>
                <a:gd name="connsiteX22" fmla="*/ 865415 w 1528326"/>
                <a:gd name="connsiteY22" fmla="*/ 2439691 h 2439691"/>
                <a:gd name="connsiteX23" fmla="*/ 864530 w 1528326"/>
                <a:gd name="connsiteY23" fmla="*/ 2439691 h 2439691"/>
                <a:gd name="connsiteX24" fmla="*/ 743276 w 1528326"/>
                <a:gd name="connsiteY24" fmla="*/ 2323067 h 2439691"/>
                <a:gd name="connsiteX25" fmla="*/ 743276 w 1528326"/>
                <a:gd name="connsiteY25" fmla="*/ 1601231 h 2439691"/>
                <a:gd name="connsiteX26" fmla="*/ 743276 w 1528326"/>
                <a:gd name="connsiteY26" fmla="*/ 1542035 h 2439691"/>
                <a:gd name="connsiteX27" fmla="*/ 744161 w 1528326"/>
                <a:gd name="connsiteY27" fmla="*/ 907668 h 2439691"/>
                <a:gd name="connsiteX28" fmla="*/ 725574 w 1528326"/>
                <a:gd name="connsiteY28" fmla="*/ 900600 h 2439691"/>
                <a:gd name="connsiteX29" fmla="*/ 540596 w 1528326"/>
                <a:gd name="connsiteY29" fmla="*/ 1115295 h 2439691"/>
                <a:gd name="connsiteX30" fmla="*/ 127272 w 1528326"/>
                <a:gd name="connsiteY30" fmla="*/ 1264610 h 2439691"/>
                <a:gd name="connsiteX31" fmla="*/ 3364 w 1528326"/>
                <a:gd name="connsiteY31" fmla="*/ 1193045 h 2439691"/>
                <a:gd name="connsiteX32" fmla="*/ 74169 w 1528326"/>
                <a:gd name="connsiteY32" fmla="*/ 1065818 h 2439691"/>
                <a:gd name="connsiteX33" fmla="*/ 388366 w 1528326"/>
                <a:gd name="connsiteY33" fmla="*/ 961563 h 2439691"/>
                <a:gd name="connsiteX34" fmla="*/ 393676 w 1528326"/>
                <a:gd name="connsiteY34" fmla="*/ 958912 h 2439691"/>
                <a:gd name="connsiteX35" fmla="*/ 691057 w 1528326"/>
                <a:gd name="connsiteY35" fmla="*/ 548959 h 2439691"/>
                <a:gd name="connsiteX36" fmla="*/ 1027573 w 1528326"/>
                <a:gd name="connsiteY36" fmla="*/ 0 h 2439691"/>
                <a:gd name="connsiteX37" fmla="*/ 1264056 w 1528326"/>
                <a:gd name="connsiteY37" fmla="*/ 236483 h 2439691"/>
                <a:gd name="connsiteX38" fmla="*/ 1027573 w 1528326"/>
                <a:gd name="connsiteY38" fmla="*/ 472966 h 2439691"/>
                <a:gd name="connsiteX39" fmla="*/ 791090 w 1528326"/>
                <a:gd name="connsiteY39" fmla="*/ 236483 h 2439691"/>
                <a:gd name="connsiteX40" fmla="*/ 1027573 w 1528326"/>
                <a:gd name="connsiteY40" fmla="*/ 0 h 243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8326" h="2439691">
                  <a:moveTo>
                    <a:pt x="691057" y="548959"/>
                  </a:moveTo>
                  <a:cubicBezTo>
                    <a:pt x="691057" y="548959"/>
                    <a:pt x="691057" y="548959"/>
                    <a:pt x="1517705" y="548959"/>
                  </a:cubicBezTo>
                  <a:cubicBezTo>
                    <a:pt x="1523901" y="548959"/>
                    <a:pt x="1528326" y="554260"/>
                    <a:pt x="1528326" y="559561"/>
                  </a:cubicBezTo>
                  <a:cubicBezTo>
                    <a:pt x="1528326" y="559561"/>
                    <a:pt x="1528326" y="559561"/>
                    <a:pt x="1528326" y="821967"/>
                  </a:cubicBezTo>
                  <a:cubicBezTo>
                    <a:pt x="1528326" y="821967"/>
                    <a:pt x="1528326" y="821967"/>
                    <a:pt x="1528326" y="950961"/>
                  </a:cubicBezTo>
                  <a:cubicBezTo>
                    <a:pt x="1528326" y="950961"/>
                    <a:pt x="1528326" y="950961"/>
                    <a:pt x="1528326" y="1429828"/>
                  </a:cubicBezTo>
                  <a:cubicBezTo>
                    <a:pt x="1528326" y="1487257"/>
                    <a:pt x="1478763" y="1534084"/>
                    <a:pt x="1419464" y="1534084"/>
                  </a:cubicBezTo>
                  <a:cubicBezTo>
                    <a:pt x="1360164" y="1534084"/>
                    <a:pt x="1309716" y="1487257"/>
                    <a:pt x="1309716" y="1429828"/>
                  </a:cubicBezTo>
                  <a:cubicBezTo>
                    <a:pt x="1309716" y="1429828"/>
                    <a:pt x="1309716" y="1429828"/>
                    <a:pt x="1309716" y="891765"/>
                  </a:cubicBezTo>
                  <a:cubicBezTo>
                    <a:pt x="1309716" y="883813"/>
                    <a:pt x="1303520" y="875861"/>
                    <a:pt x="1295555" y="875861"/>
                  </a:cubicBezTo>
                  <a:cubicBezTo>
                    <a:pt x="1285819" y="874978"/>
                    <a:pt x="1277854" y="882046"/>
                    <a:pt x="1277854" y="891765"/>
                  </a:cubicBezTo>
                  <a:cubicBezTo>
                    <a:pt x="1277854" y="891765"/>
                    <a:pt x="1277854" y="891765"/>
                    <a:pt x="1277854" y="1542035"/>
                  </a:cubicBezTo>
                  <a:cubicBezTo>
                    <a:pt x="1277854" y="1542035"/>
                    <a:pt x="1277854" y="1542035"/>
                    <a:pt x="1277854" y="1601231"/>
                  </a:cubicBezTo>
                  <a:cubicBezTo>
                    <a:pt x="1277854" y="1601231"/>
                    <a:pt x="1277854" y="1601231"/>
                    <a:pt x="1277854" y="2323067"/>
                  </a:cubicBezTo>
                  <a:cubicBezTo>
                    <a:pt x="1277854" y="2386680"/>
                    <a:pt x="1223865" y="2439691"/>
                    <a:pt x="1158370" y="2439691"/>
                  </a:cubicBezTo>
                  <a:cubicBezTo>
                    <a:pt x="1158370" y="2439691"/>
                    <a:pt x="1158370" y="2439691"/>
                    <a:pt x="1156600" y="2439691"/>
                  </a:cubicBezTo>
                  <a:cubicBezTo>
                    <a:pt x="1090220" y="2439691"/>
                    <a:pt x="1037117" y="2386680"/>
                    <a:pt x="1037117" y="2323067"/>
                  </a:cubicBezTo>
                  <a:cubicBezTo>
                    <a:pt x="1037117" y="2323067"/>
                    <a:pt x="1037117" y="2323067"/>
                    <a:pt x="1037117" y="1612717"/>
                  </a:cubicBezTo>
                  <a:cubicBezTo>
                    <a:pt x="1037117" y="1606532"/>
                    <a:pt x="1032691" y="1602115"/>
                    <a:pt x="1026496" y="1602115"/>
                  </a:cubicBezTo>
                  <a:cubicBezTo>
                    <a:pt x="1026496" y="1602115"/>
                    <a:pt x="1026496" y="1602115"/>
                    <a:pt x="998174" y="1602115"/>
                  </a:cubicBezTo>
                  <a:cubicBezTo>
                    <a:pt x="991979" y="1602115"/>
                    <a:pt x="986668" y="1606532"/>
                    <a:pt x="986668" y="1612717"/>
                  </a:cubicBezTo>
                  <a:cubicBezTo>
                    <a:pt x="986668" y="1612717"/>
                    <a:pt x="986668" y="1612717"/>
                    <a:pt x="986668" y="2323067"/>
                  </a:cubicBezTo>
                  <a:cubicBezTo>
                    <a:pt x="986668" y="2386680"/>
                    <a:pt x="931794" y="2439691"/>
                    <a:pt x="865415" y="2439691"/>
                  </a:cubicBezTo>
                  <a:cubicBezTo>
                    <a:pt x="865415" y="2439691"/>
                    <a:pt x="865415" y="2439691"/>
                    <a:pt x="864530" y="2439691"/>
                  </a:cubicBezTo>
                  <a:cubicBezTo>
                    <a:pt x="798150" y="2439691"/>
                    <a:pt x="743276" y="2386680"/>
                    <a:pt x="743276" y="2323067"/>
                  </a:cubicBezTo>
                  <a:cubicBezTo>
                    <a:pt x="743276" y="2323067"/>
                    <a:pt x="743276" y="2323067"/>
                    <a:pt x="743276" y="1601231"/>
                  </a:cubicBezTo>
                  <a:cubicBezTo>
                    <a:pt x="743276" y="1601231"/>
                    <a:pt x="743276" y="1601231"/>
                    <a:pt x="743276" y="1542035"/>
                  </a:cubicBezTo>
                  <a:cubicBezTo>
                    <a:pt x="743276" y="1542035"/>
                    <a:pt x="743276" y="1542035"/>
                    <a:pt x="744161" y="907668"/>
                  </a:cubicBezTo>
                  <a:cubicBezTo>
                    <a:pt x="744161" y="897949"/>
                    <a:pt x="731770" y="892648"/>
                    <a:pt x="725574" y="900600"/>
                  </a:cubicBezTo>
                  <a:cubicBezTo>
                    <a:pt x="662735" y="969515"/>
                    <a:pt x="540596" y="1114412"/>
                    <a:pt x="540596" y="1115295"/>
                  </a:cubicBezTo>
                  <a:cubicBezTo>
                    <a:pt x="519355" y="1137383"/>
                    <a:pt x="203388" y="1238988"/>
                    <a:pt x="127272" y="1264610"/>
                  </a:cubicBezTo>
                  <a:cubicBezTo>
                    <a:pt x="73284" y="1279630"/>
                    <a:pt x="17525" y="1247823"/>
                    <a:pt x="3364" y="1193045"/>
                  </a:cubicBezTo>
                  <a:cubicBezTo>
                    <a:pt x="-10797" y="1138267"/>
                    <a:pt x="21065" y="1080838"/>
                    <a:pt x="74169" y="1065818"/>
                  </a:cubicBezTo>
                  <a:cubicBezTo>
                    <a:pt x="75054" y="1065818"/>
                    <a:pt x="351193" y="974816"/>
                    <a:pt x="388366" y="961563"/>
                  </a:cubicBezTo>
                  <a:cubicBezTo>
                    <a:pt x="390136" y="961563"/>
                    <a:pt x="391906" y="959796"/>
                    <a:pt x="393676" y="958912"/>
                  </a:cubicBezTo>
                  <a:cubicBezTo>
                    <a:pt x="393676" y="958912"/>
                    <a:pt x="393676" y="958912"/>
                    <a:pt x="691057" y="548959"/>
                  </a:cubicBezTo>
                  <a:close/>
                  <a:moveTo>
                    <a:pt x="1027573" y="0"/>
                  </a:moveTo>
                  <a:cubicBezTo>
                    <a:pt x="1158179" y="0"/>
                    <a:pt x="1264056" y="105877"/>
                    <a:pt x="1264056" y="236483"/>
                  </a:cubicBezTo>
                  <a:cubicBezTo>
                    <a:pt x="1264056" y="367089"/>
                    <a:pt x="1158179" y="472966"/>
                    <a:pt x="1027573" y="472966"/>
                  </a:cubicBezTo>
                  <a:cubicBezTo>
                    <a:pt x="896967" y="472966"/>
                    <a:pt x="791090" y="367089"/>
                    <a:pt x="791090" y="236483"/>
                  </a:cubicBezTo>
                  <a:cubicBezTo>
                    <a:pt x="791090" y="105877"/>
                    <a:pt x="896967" y="0"/>
                    <a:pt x="1027573" y="0"/>
                  </a:cubicBezTo>
                  <a:close/>
                </a:path>
              </a:pathLst>
            </a:custGeom>
            <a:solidFill>
              <a:schemeClr val="tx1">
                <a:lumMod val="65000"/>
                <a:lumOff val="35000"/>
              </a:schemeClr>
            </a:solidFill>
            <a:ln>
              <a:noFill/>
            </a:ln>
          </p:spPr>
          <p:txBody>
            <a:bodyPr vert="horz" wrap="square" lIns="91440" tIns="45720" rIns="91440" bIns="45720" numCol="1" anchor="t" anchorCtr="0" compatLnSpc="1">
              <a:noAutofit/>
            </a:bodyPr>
            <a:lstStyle/>
            <a:p>
              <a:endParaRPr lang="en-US" sz="3600">
                <a:cs typeface="+mn-ea"/>
                <a:sym typeface="+mn-lt"/>
              </a:endParaRPr>
            </a:p>
          </p:txBody>
        </p:sp>
        <p:sp>
          <p:nvSpPr>
            <p:cNvPr id="221" name="任意多边形: 形状 220"/>
            <p:cNvSpPr/>
            <p:nvPr/>
          </p:nvSpPr>
          <p:spPr bwMode="auto">
            <a:xfrm>
              <a:off x="7601188" y="4204069"/>
              <a:ext cx="184205" cy="677933"/>
            </a:xfrm>
            <a:custGeom>
              <a:avLst/>
              <a:gdLst>
                <a:gd name="connsiteX0" fmla="*/ 79574 w 184205"/>
                <a:gd name="connsiteY0" fmla="*/ 6643 h 677933"/>
                <a:gd name="connsiteX1" fmla="*/ 105097 w 184205"/>
                <a:gd name="connsiteY1" fmla="*/ 6643 h 677933"/>
                <a:gd name="connsiteX2" fmla="*/ 165823 w 184205"/>
                <a:gd name="connsiteY2" fmla="*/ 87252 h 677933"/>
                <a:gd name="connsiteX3" fmla="*/ 165823 w 184205"/>
                <a:gd name="connsiteY3" fmla="*/ 122685 h 677933"/>
                <a:gd name="connsiteX4" fmla="*/ 140204 w 184205"/>
                <a:gd name="connsiteY4" fmla="*/ 156318 h 677933"/>
                <a:gd name="connsiteX5" fmla="*/ 120406 w 184205"/>
                <a:gd name="connsiteY5" fmla="*/ 182310 h 677933"/>
                <a:gd name="connsiteX6" fmla="*/ 124210 w 184205"/>
                <a:gd name="connsiteY6" fmla="*/ 204422 h 677933"/>
                <a:gd name="connsiteX7" fmla="*/ 184205 w 184205"/>
                <a:gd name="connsiteY7" fmla="*/ 556143 h 677933"/>
                <a:gd name="connsiteX8" fmla="*/ 182428 w 184205"/>
                <a:gd name="connsiteY8" fmla="*/ 567616 h 677933"/>
                <a:gd name="connsiteX9" fmla="*/ 177983 w 184205"/>
                <a:gd name="connsiteY9" fmla="*/ 577324 h 677933"/>
                <a:gd name="connsiteX10" fmla="*/ 106878 w 184205"/>
                <a:gd name="connsiteY10" fmla="*/ 669991 h 677933"/>
                <a:gd name="connsiteX11" fmla="*/ 76658 w 184205"/>
                <a:gd name="connsiteY11" fmla="*/ 669991 h 677933"/>
                <a:gd name="connsiteX12" fmla="*/ 6441 w 184205"/>
                <a:gd name="connsiteY12" fmla="*/ 577324 h 677933"/>
                <a:gd name="connsiteX13" fmla="*/ 219 w 184205"/>
                <a:gd name="connsiteY13" fmla="*/ 551730 h 677933"/>
                <a:gd name="connsiteX14" fmla="*/ 33994 w 184205"/>
                <a:gd name="connsiteY14" fmla="*/ 367279 h 677933"/>
                <a:gd name="connsiteX15" fmla="*/ 33994 w 184205"/>
                <a:gd name="connsiteY15" fmla="*/ 366396 h 677933"/>
                <a:gd name="connsiteX16" fmla="*/ 59770 w 184205"/>
                <a:gd name="connsiteY16" fmla="*/ 206656 h 677933"/>
                <a:gd name="connsiteX17" fmla="*/ 63845 w 184205"/>
                <a:gd name="connsiteY17" fmla="*/ 181759 h 677933"/>
                <a:gd name="connsiteX18" fmla="*/ 53955 w 184205"/>
                <a:gd name="connsiteY18" fmla="*/ 168775 h 677933"/>
                <a:gd name="connsiteX19" fmla="*/ 18847 w 184205"/>
                <a:gd name="connsiteY19" fmla="*/ 122685 h 677933"/>
                <a:gd name="connsiteX20" fmla="*/ 18847 w 184205"/>
                <a:gd name="connsiteY20" fmla="*/ 87252 h 677933"/>
                <a:gd name="connsiteX21" fmla="*/ 79574 w 184205"/>
                <a:gd name="connsiteY21" fmla="*/ 6643 h 67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205" h="677933">
                  <a:moveTo>
                    <a:pt x="79574" y="6643"/>
                  </a:moveTo>
                  <a:cubicBezTo>
                    <a:pt x="86615" y="-2215"/>
                    <a:pt x="98056" y="-2215"/>
                    <a:pt x="105097" y="6643"/>
                  </a:cubicBezTo>
                  <a:cubicBezTo>
                    <a:pt x="105097" y="6643"/>
                    <a:pt x="105097" y="6643"/>
                    <a:pt x="165823" y="87252"/>
                  </a:cubicBezTo>
                  <a:cubicBezTo>
                    <a:pt x="172864" y="96996"/>
                    <a:pt x="172864" y="112941"/>
                    <a:pt x="165823" y="122685"/>
                  </a:cubicBezTo>
                  <a:cubicBezTo>
                    <a:pt x="165823" y="122685"/>
                    <a:pt x="165823" y="122685"/>
                    <a:pt x="140204" y="156318"/>
                  </a:cubicBezTo>
                  <a:lnTo>
                    <a:pt x="120406" y="182310"/>
                  </a:lnTo>
                  <a:lnTo>
                    <a:pt x="124210" y="204422"/>
                  </a:lnTo>
                  <a:cubicBezTo>
                    <a:pt x="145208" y="326130"/>
                    <a:pt x="184205" y="550847"/>
                    <a:pt x="184205" y="556143"/>
                  </a:cubicBezTo>
                  <a:cubicBezTo>
                    <a:pt x="184205" y="560555"/>
                    <a:pt x="184205" y="564086"/>
                    <a:pt x="182428" y="567616"/>
                  </a:cubicBezTo>
                  <a:cubicBezTo>
                    <a:pt x="182428" y="569381"/>
                    <a:pt x="179761" y="577324"/>
                    <a:pt x="177983" y="577324"/>
                  </a:cubicBezTo>
                  <a:cubicBezTo>
                    <a:pt x="106878" y="669991"/>
                    <a:pt x="106878" y="669991"/>
                    <a:pt x="106878" y="669991"/>
                  </a:cubicBezTo>
                  <a:cubicBezTo>
                    <a:pt x="98878" y="680581"/>
                    <a:pt x="85546" y="680581"/>
                    <a:pt x="76658" y="669991"/>
                  </a:cubicBezTo>
                  <a:cubicBezTo>
                    <a:pt x="6441" y="577324"/>
                    <a:pt x="6441" y="577324"/>
                    <a:pt x="6441" y="577324"/>
                  </a:cubicBezTo>
                  <a:cubicBezTo>
                    <a:pt x="1108" y="570263"/>
                    <a:pt x="-670" y="560555"/>
                    <a:pt x="219" y="551730"/>
                  </a:cubicBezTo>
                  <a:cubicBezTo>
                    <a:pt x="1108" y="544670"/>
                    <a:pt x="25106" y="421996"/>
                    <a:pt x="33994" y="367279"/>
                  </a:cubicBezTo>
                  <a:cubicBezTo>
                    <a:pt x="33994" y="367279"/>
                    <a:pt x="33994" y="366396"/>
                    <a:pt x="33994" y="366396"/>
                  </a:cubicBezTo>
                  <a:cubicBezTo>
                    <a:pt x="37550" y="343450"/>
                    <a:pt x="55326" y="236662"/>
                    <a:pt x="59770" y="206656"/>
                  </a:cubicBezTo>
                  <a:lnTo>
                    <a:pt x="63845" y="181759"/>
                  </a:lnTo>
                  <a:lnTo>
                    <a:pt x="53955" y="168775"/>
                  </a:lnTo>
                  <a:cubicBezTo>
                    <a:pt x="45415" y="157564"/>
                    <a:pt x="34029" y="142616"/>
                    <a:pt x="18847" y="122685"/>
                  </a:cubicBezTo>
                  <a:cubicBezTo>
                    <a:pt x="11806" y="112941"/>
                    <a:pt x="11806" y="96996"/>
                    <a:pt x="18847" y="87252"/>
                  </a:cubicBezTo>
                  <a:cubicBezTo>
                    <a:pt x="18847" y="87252"/>
                    <a:pt x="18847" y="87252"/>
                    <a:pt x="79574" y="664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sz="3600">
                <a:cs typeface="+mn-ea"/>
                <a:sym typeface="+mn-lt"/>
              </a:endParaRPr>
            </a:p>
          </p:txBody>
        </p:sp>
      </p:gr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3" name="图片占位符 112"/>
          <p:cNvSpPr>
            <a:spLocks noGrp="1"/>
          </p:cNvSpPr>
          <p:nvPr>
            <p:ph type="pic" sz="quarter" idx="10"/>
          </p:nvPr>
        </p:nvSpPr>
        <p:spPr>
          <a:xfrm>
            <a:off x="381" y="1199638"/>
            <a:ext cx="12191238" cy="4838400"/>
          </a:xfrm>
          <a:custGeom>
            <a:avLst/>
            <a:gdLst>
              <a:gd name="connsiteX0" fmla="*/ 10755219 w 12191238"/>
              <a:gd name="connsiteY0" fmla="*/ 0 h 4838400"/>
              <a:gd name="connsiteX1" fmla="*/ 12191238 w 12191238"/>
              <a:gd name="connsiteY1" fmla="*/ 0 h 4838400"/>
              <a:gd name="connsiteX2" fmla="*/ 12191238 w 12191238"/>
              <a:gd name="connsiteY2" fmla="*/ 4838400 h 4838400"/>
              <a:gd name="connsiteX3" fmla="*/ 10755219 w 12191238"/>
              <a:gd name="connsiteY3" fmla="*/ 4838400 h 4838400"/>
              <a:gd name="connsiteX4" fmla="*/ 6903069 w 12191238"/>
              <a:gd name="connsiteY4" fmla="*/ 0 h 4838400"/>
              <a:gd name="connsiteX5" fmla="*/ 10675869 w 12191238"/>
              <a:gd name="connsiteY5" fmla="*/ 0 h 4838400"/>
              <a:gd name="connsiteX6" fmla="*/ 10675869 w 12191238"/>
              <a:gd name="connsiteY6" fmla="*/ 4838400 h 4838400"/>
              <a:gd name="connsiteX7" fmla="*/ 6903069 w 12191238"/>
              <a:gd name="connsiteY7" fmla="*/ 4838400 h 4838400"/>
              <a:gd name="connsiteX8" fmla="*/ 0 w 12191238"/>
              <a:gd name="connsiteY8" fmla="*/ 0 h 4838400"/>
              <a:gd name="connsiteX9" fmla="*/ 2169094 w 12191238"/>
              <a:gd name="connsiteY9" fmla="*/ 0 h 4838400"/>
              <a:gd name="connsiteX10" fmla="*/ 2169094 w 12191238"/>
              <a:gd name="connsiteY10" fmla="*/ 4838400 h 4838400"/>
              <a:gd name="connsiteX11" fmla="*/ 0 w 12191238"/>
              <a:gd name="connsiteY11" fmla="*/ 4838400 h 48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238" h="4838400">
                <a:moveTo>
                  <a:pt x="10755219" y="0"/>
                </a:moveTo>
                <a:lnTo>
                  <a:pt x="12191238" y="0"/>
                </a:lnTo>
                <a:lnTo>
                  <a:pt x="12191238" y="4838400"/>
                </a:lnTo>
                <a:lnTo>
                  <a:pt x="10755219" y="4838400"/>
                </a:lnTo>
                <a:close/>
                <a:moveTo>
                  <a:pt x="6903069" y="0"/>
                </a:moveTo>
                <a:lnTo>
                  <a:pt x="10675869" y="0"/>
                </a:lnTo>
                <a:lnTo>
                  <a:pt x="10675869" y="4838400"/>
                </a:lnTo>
                <a:lnTo>
                  <a:pt x="6903069" y="4838400"/>
                </a:lnTo>
                <a:close/>
                <a:moveTo>
                  <a:pt x="0" y="0"/>
                </a:moveTo>
                <a:lnTo>
                  <a:pt x="2169094" y="0"/>
                </a:lnTo>
                <a:lnTo>
                  <a:pt x="2169094" y="4838400"/>
                </a:lnTo>
                <a:lnTo>
                  <a:pt x="0" y="4838400"/>
                </a:lnTo>
                <a:close/>
              </a:path>
            </a:pathLst>
          </a:custGeom>
          <a:solidFill>
            <a:schemeClr val="accent1">
              <a:lumMod val="20000"/>
              <a:lumOff val="80000"/>
            </a:schemeClr>
          </a:solidFill>
        </p:spPr>
        <p:txBody>
          <a:bodyPr wrap="square">
            <a:noAutofit/>
          </a:bodyPr>
          <a:lstStyle/>
          <a:p>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797186" y="1646362"/>
            <a:ext cx="2129171" cy="1460519"/>
          </a:xfrm>
          <a:solidFill>
            <a:schemeClr val="accent1">
              <a:lumMod val="20000"/>
              <a:lumOff val="80000"/>
            </a:schemeClr>
          </a:solidFill>
        </p:spPr>
        <p:txBody>
          <a:bodyPr/>
          <a:lstStyle/>
          <a:p>
            <a:endParaRPr lang="en-US"/>
          </a:p>
        </p:txBody>
      </p:sp>
      <p:sp>
        <p:nvSpPr>
          <p:cNvPr id="116" name="图片占位符 6"/>
          <p:cNvSpPr>
            <a:spLocks noGrp="1"/>
          </p:cNvSpPr>
          <p:nvPr>
            <p:ph type="pic" sz="quarter" idx="11"/>
          </p:nvPr>
        </p:nvSpPr>
        <p:spPr>
          <a:xfrm>
            <a:off x="3615771" y="1646362"/>
            <a:ext cx="2129171" cy="1460519"/>
          </a:xfrm>
          <a:solidFill>
            <a:schemeClr val="accent1">
              <a:lumMod val="20000"/>
              <a:lumOff val="80000"/>
            </a:schemeClr>
          </a:solidFill>
        </p:spPr>
        <p:txBody>
          <a:bodyPr/>
          <a:lstStyle/>
          <a:p>
            <a:endParaRPr lang="en-US"/>
          </a:p>
        </p:txBody>
      </p:sp>
      <p:sp>
        <p:nvSpPr>
          <p:cNvPr id="117" name="图片占位符 6"/>
          <p:cNvSpPr>
            <a:spLocks noGrp="1"/>
          </p:cNvSpPr>
          <p:nvPr>
            <p:ph type="pic" sz="quarter" idx="12"/>
          </p:nvPr>
        </p:nvSpPr>
        <p:spPr>
          <a:xfrm>
            <a:off x="6434356" y="1646362"/>
            <a:ext cx="2129171" cy="1460519"/>
          </a:xfrm>
          <a:solidFill>
            <a:schemeClr val="accent1">
              <a:lumMod val="20000"/>
              <a:lumOff val="80000"/>
            </a:schemeClr>
          </a:solidFill>
        </p:spPr>
        <p:txBody>
          <a:bodyPr/>
          <a:lstStyle/>
          <a:p>
            <a:endParaRPr lang="en-US"/>
          </a:p>
        </p:txBody>
      </p:sp>
      <p:sp>
        <p:nvSpPr>
          <p:cNvPr id="118" name="图片占位符 6"/>
          <p:cNvSpPr>
            <a:spLocks noGrp="1"/>
          </p:cNvSpPr>
          <p:nvPr>
            <p:ph type="pic" sz="quarter" idx="13"/>
          </p:nvPr>
        </p:nvSpPr>
        <p:spPr>
          <a:xfrm>
            <a:off x="9252941" y="1646362"/>
            <a:ext cx="2129171" cy="1460519"/>
          </a:xfrm>
          <a:solidFill>
            <a:schemeClr val="accent1">
              <a:lumMod val="20000"/>
              <a:lumOff val="80000"/>
            </a:schemeClr>
          </a:solidFill>
        </p:spPr>
        <p:txBody>
          <a:bodyPr/>
          <a:lstStyle/>
          <a:p>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18" name="图片 1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8115" y="1384085"/>
            <a:ext cx="1945162" cy="4011890"/>
          </a:xfrm>
          <a:prstGeom prst="rect">
            <a:avLst/>
          </a:prstGeom>
        </p:spPr>
      </p:pic>
      <p:sp>
        <p:nvSpPr>
          <p:cNvPr id="119" name="图片占位符 6"/>
          <p:cNvSpPr>
            <a:spLocks noGrp="1"/>
          </p:cNvSpPr>
          <p:nvPr>
            <p:ph type="pic" sz="quarter" idx="10"/>
          </p:nvPr>
        </p:nvSpPr>
        <p:spPr>
          <a:xfrm>
            <a:off x="591311" y="1749552"/>
            <a:ext cx="1652017" cy="3279648"/>
          </a:xfrm>
          <a:prstGeom prst="roundRect">
            <a:avLst>
              <a:gd name="adj" fmla="val 5598"/>
            </a:avLst>
          </a:prstGeom>
          <a:solidFill>
            <a:schemeClr val="accent1">
              <a:lumMod val="20000"/>
              <a:lumOff val="80000"/>
            </a:schemeClr>
          </a:solidFill>
        </p:spPr>
        <p:txBody>
          <a:bodyPr/>
          <a:lstStyle/>
          <a:p>
            <a:endParaRPr lang="en-US" dirty="0"/>
          </a:p>
        </p:txBody>
      </p:sp>
      <p:grpSp>
        <p:nvGrpSpPr>
          <p:cNvPr id="114" name="组合 113"/>
          <p:cNvGrpSpPr/>
          <p:nvPr userDrawn="1"/>
        </p:nvGrpSpPr>
        <p:grpSpPr>
          <a:xfrm>
            <a:off x="2479158" y="1196975"/>
            <a:ext cx="9233416" cy="4932363"/>
            <a:chOff x="2479158" y="1196975"/>
            <a:chExt cx="9233416" cy="4932363"/>
          </a:xfrm>
        </p:grpSpPr>
        <p:sp>
          <p:nvSpPr>
            <p:cNvPr id="115" name="Rectangle 31"/>
            <p:cNvSpPr/>
            <p:nvPr/>
          </p:nvSpPr>
          <p:spPr>
            <a:xfrm>
              <a:off x="3029885" y="1196975"/>
              <a:ext cx="8682689" cy="4932363"/>
            </a:xfrm>
            <a:prstGeom prst="rect">
              <a:avLst/>
            </a:prstGeom>
            <a:pattFill prst="ltUpDiag">
              <a:fgClr>
                <a:schemeClr val="bg1">
                  <a:lumMod val="95000"/>
                </a:schemeClr>
              </a:fgClr>
              <a:bgClr>
                <a:schemeClr val="bg1"/>
              </a:bgClr>
            </a:pattFill>
            <a:ln w="9525" cap="rnd"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nSpc>
                  <a:spcPct val="90000"/>
                </a:lnSpc>
                <a:spcAft>
                  <a:spcPts val="1000"/>
                </a:spcAft>
              </a:pPr>
              <a:endParaRPr lang="en-US" sz="1200" dirty="0" err="1">
                <a:solidFill>
                  <a:srgbClr val="FFFFFF"/>
                </a:solidFill>
                <a:cs typeface="+mn-ea"/>
                <a:sym typeface="+mn-lt"/>
              </a:endParaRPr>
            </a:p>
          </p:txBody>
        </p:sp>
        <p:sp>
          <p:nvSpPr>
            <p:cNvPr id="116" name="任意多边形: 形状 115"/>
            <p:cNvSpPr/>
            <p:nvPr/>
          </p:nvSpPr>
          <p:spPr>
            <a:xfrm>
              <a:off x="2479158" y="1196975"/>
              <a:ext cx="550727" cy="4932363"/>
            </a:xfrm>
            <a:custGeom>
              <a:avLst/>
              <a:gdLst>
                <a:gd name="connsiteX0" fmla="*/ 550727 w 550727"/>
                <a:gd name="connsiteY0" fmla="*/ 0 h 4694366"/>
                <a:gd name="connsiteX1" fmla="*/ 550727 w 550727"/>
                <a:gd name="connsiteY1" fmla="*/ 4694366 h 4694366"/>
                <a:gd name="connsiteX2" fmla="*/ 517963 w 550727"/>
                <a:gd name="connsiteY2" fmla="*/ 4629632 h 4694366"/>
                <a:gd name="connsiteX3" fmla="*/ 4148 w 550727"/>
                <a:gd name="connsiteY3" fmla="*/ 3578354 h 4694366"/>
                <a:gd name="connsiteX4" fmla="*/ 0 w 550727"/>
                <a:gd name="connsiteY4" fmla="*/ 341049 h 469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27" h="4694366">
                  <a:moveTo>
                    <a:pt x="550727" y="0"/>
                  </a:moveTo>
                  <a:lnTo>
                    <a:pt x="550727" y="4694366"/>
                  </a:lnTo>
                  <a:lnTo>
                    <a:pt x="517963" y="4629632"/>
                  </a:lnTo>
                  <a:cubicBezTo>
                    <a:pt x="226323" y="4050576"/>
                    <a:pt x="115236" y="3809653"/>
                    <a:pt x="4148" y="3578354"/>
                  </a:cubicBezTo>
                  <a:cubicBezTo>
                    <a:pt x="2765" y="2499253"/>
                    <a:pt x="1383" y="1420151"/>
                    <a:pt x="0" y="341049"/>
                  </a:cubicBezTo>
                  <a:close/>
                </a:path>
              </a:pathLst>
            </a:custGeom>
            <a:gradFill flip="none" rotWithShape="1">
              <a:gsLst>
                <a:gs pos="0">
                  <a:schemeClr val="bg1">
                    <a:lumMod val="85000"/>
                    <a:alpha val="0"/>
                  </a:schemeClr>
                </a:gs>
                <a:gs pos="100000">
                  <a:schemeClr val="bg1">
                    <a:lumMod val="75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10000"/>
                </a:lnSpc>
                <a:spcBef>
                  <a:spcPts val="600"/>
                </a:spcBef>
                <a:spcAft>
                  <a:spcPts val="300"/>
                </a:spcAft>
                <a:buClr>
                  <a:schemeClr val="bg1"/>
                </a:buClr>
              </a:pPr>
              <a:endParaRPr lang="en-US" sz="2400" dirty="0" err="1">
                <a:cs typeface="+mn-ea"/>
                <a:sym typeface="+mn-lt"/>
              </a:endParaRPr>
            </a:p>
          </p:txBody>
        </p:sp>
      </p:gr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1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2" name="矩形: 圆角 111"/>
          <p:cNvSpPr/>
          <p:nvPr userDrawn="1"/>
        </p:nvSpPr>
        <p:spPr>
          <a:xfrm>
            <a:off x="5218730" y="3758366"/>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lumMod val="75000"/>
                    <a:lumOff val="25000"/>
                  </a:schemeClr>
                </a:solidFill>
                <a:cs typeface="+mn-ea"/>
                <a:sym typeface="+mn-lt"/>
              </a:rPr>
              <a:t>输入小标题</a:t>
            </a:r>
            <a:endParaRPr lang="en-US">
              <a:solidFill>
                <a:schemeClr val="tx1">
                  <a:lumMod val="75000"/>
                  <a:lumOff val="25000"/>
                </a:schemeClr>
              </a:solidFill>
              <a:cs typeface="+mn-ea"/>
              <a:sym typeface="+mn-lt"/>
            </a:endParaRPr>
          </a:p>
        </p:txBody>
      </p:sp>
      <p:sp>
        <p:nvSpPr>
          <p:cNvPr id="134" name="图片占位符 133"/>
          <p:cNvSpPr>
            <a:spLocks noGrp="1"/>
          </p:cNvSpPr>
          <p:nvPr>
            <p:ph type="pic" sz="quarter" idx="14"/>
          </p:nvPr>
        </p:nvSpPr>
        <p:spPr>
          <a:xfrm>
            <a:off x="5219260"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15" name="矩形: 圆角 114"/>
          <p:cNvSpPr/>
          <p:nvPr userDrawn="1"/>
        </p:nvSpPr>
        <p:spPr>
          <a:xfrm>
            <a:off x="7554743" y="1721476"/>
            <a:ext cx="4157833" cy="3948488"/>
          </a:xfrm>
          <a:prstGeom prst="roundRect">
            <a:avLst>
              <a:gd name="adj" fmla="val 3609"/>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18" name="矩形: 圆角 117"/>
          <p:cNvSpPr/>
          <p:nvPr userDrawn="1"/>
        </p:nvSpPr>
        <p:spPr>
          <a:xfrm>
            <a:off x="2899324" y="3758366"/>
            <a:ext cx="2012948" cy="1911598"/>
          </a:xfrm>
          <a:prstGeom prst="roundRect">
            <a:avLst>
              <a:gd name="adj" fmla="val 7552"/>
            </a:avLst>
          </a:prstGeom>
          <a:solidFill>
            <a:schemeClr val="bg1"/>
          </a:solidFill>
          <a:ln>
            <a:noFill/>
          </a:ln>
          <a:effectLst>
            <a:outerShdw blurRad="101600" dist="38100" dir="2700000" algn="tl" rotWithShape="0">
              <a:schemeClr val="accent1">
                <a:alpha val="2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lumMod val="75000"/>
                    <a:lumOff val="25000"/>
                  </a:schemeClr>
                </a:solidFill>
                <a:cs typeface="+mn-ea"/>
                <a:sym typeface="+mn-lt"/>
              </a:rPr>
              <a:t>输入小标题</a:t>
            </a:r>
            <a:endParaRPr lang="en-US">
              <a:solidFill>
                <a:schemeClr val="tx1">
                  <a:lumMod val="75000"/>
                  <a:lumOff val="25000"/>
                </a:schemeClr>
              </a:solidFill>
              <a:cs typeface="+mn-ea"/>
              <a:sym typeface="+mn-lt"/>
            </a:endParaRPr>
          </a:p>
        </p:txBody>
      </p:sp>
      <p:sp>
        <p:nvSpPr>
          <p:cNvPr id="133" name="图片占位符 132"/>
          <p:cNvSpPr>
            <a:spLocks noGrp="1"/>
          </p:cNvSpPr>
          <p:nvPr>
            <p:ph type="pic" sz="quarter" idx="13"/>
          </p:nvPr>
        </p:nvSpPr>
        <p:spPr>
          <a:xfrm>
            <a:off x="2899854"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21" name="矩形: 圆角 120"/>
          <p:cNvSpPr/>
          <p:nvPr userDrawn="1"/>
        </p:nvSpPr>
        <p:spPr>
          <a:xfrm>
            <a:off x="5218730" y="1693718"/>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31" name="图片占位符 130"/>
          <p:cNvSpPr>
            <a:spLocks noGrp="1"/>
          </p:cNvSpPr>
          <p:nvPr>
            <p:ph type="pic" sz="quarter" idx="11"/>
          </p:nvPr>
        </p:nvSpPr>
        <p:spPr>
          <a:xfrm>
            <a:off x="5219260" y="1693718"/>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24" name="矩形: 圆角 123"/>
          <p:cNvSpPr/>
          <p:nvPr userDrawn="1"/>
        </p:nvSpPr>
        <p:spPr>
          <a:xfrm>
            <a:off x="2899324" y="1693718"/>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27" name="矩形: 圆角 126"/>
          <p:cNvSpPr/>
          <p:nvPr userDrawn="1"/>
        </p:nvSpPr>
        <p:spPr>
          <a:xfrm>
            <a:off x="515938" y="3758366"/>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2" name="图片占位符 131"/>
          <p:cNvSpPr>
            <a:spLocks noGrp="1"/>
          </p:cNvSpPr>
          <p:nvPr>
            <p:ph type="pic" sz="quarter" idx="12"/>
          </p:nvPr>
        </p:nvSpPr>
        <p:spPr>
          <a:xfrm>
            <a:off x="516468"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30" name="图片占位符 129"/>
          <p:cNvSpPr>
            <a:spLocks noGrp="1"/>
          </p:cNvSpPr>
          <p:nvPr>
            <p:ph type="pic" sz="quarter" idx="10"/>
          </p:nvPr>
        </p:nvSpPr>
        <p:spPr>
          <a:xfrm>
            <a:off x="2899854" y="1693718"/>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35" name="图片占位符 134"/>
          <p:cNvSpPr>
            <a:spLocks noGrp="1"/>
          </p:cNvSpPr>
          <p:nvPr>
            <p:ph type="pic" sz="quarter" idx="15"/>
          </p:nvPr>
        </p:nvSpPr>
        <p:spPr>
          <a:xfrm>
            <a:off x="7554741" y="1721476"/>
            <a:ext cx="4156652" cy="3379108"/>
          </a:xfrm>
          <a:custGeom>
            <a:avLst/>
            <a:gdLst>
              <a:gd name="connsiteX0" fmla="*/ 159561 w 4156652"/>
              <a:gd name="connsiteY0" fmla="*/ 0 h 3379108"/>
              <a:gd name="connsiteX1" fmla="*/ 3997091 w 4156652"/>
              <a:gd name="connsiteY1" fmla="*/ 0 h 3379108"/>
              <a:gd name="connsiteX2" fmla="*/ 4156652 w 4156652"/>
              <a:gd name="connsiteY2" fmla="*/ 159561 h 3379108"/>
              <a:gd name="connsiteX3" fmla="*/ 4156652 w 4156652"/>
              <a:gd name="connsiteY3" fmla="*/ 3379108 h 3379108"/>
              <a:gd name="connsiteX4" fmla="*/ 0 w 4156652"/>
              <a:gd name="connsiteY4" fmla="*/ 3379108 h 3379108"/>
              <a:gd name="connsiteX5" fmla="*/ 0 w 4156652"/>
              <a:gd name="connsiteY5" fmla="*/ 159561 h 3379108"/>
              <a:gd name="connsiteX6" fmla="*/ 159561 w 4156652"/>
              <a:gd name="connsiteY6" fmla="*/ 0 h 337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6652" h="3379108">
                <a:moveTo>
                  <a:pt x="159561" y="0"/>
                </a:moveTo>
                <a:lnTo>
                  <a:pt x="3997091" y="0"/>
                </a:lnTo>
                <a:cubicBezTo>
                  <a:pt x="4085214" y="0"/>
                  <a:pt x="4156652" y="71438"/>
                  <a:pt x="4156652" y="159561"/>
                </a:cubicBezTo>
                <a:lnTo>
                  <a:pt x="4156652" y="3379108"/>
                </a:lnTo>
                <a:lnTo>
                  <a:pt x="0" y="3379108"/>
                </a:lnTo>
                <a:lnTo>
                  <a:pt x="0" y="159561"/>
                </a:lnTo>
                <a:cubicBezTo>
                  <a:pt x="0" y="71438"/>
                  <a:pt x="71438" y="0"/>
                  <a:pt x="159561" y="0"/>
                </a:cubicBezTo>
                <a:close/>
              </a:path>
            </a:pathLst>
          </a:custGeom>
          <a:solidFill>
            <a:schemeClr val="accent1">
              <a:lumMod val="20000"/>
              <a:lumOff val="80000"/>
            </a:schemeClr>
          </a:solidFill>
        </p:spPr>
        <p:txBody>
          <a:bodyPr wrap="square">
            <a:noAutofit/>
          </a:bodyPr>
          <a:lstStyle/>
          <a:p>
            <a:endParaRPr lang="en-US"/>
          </a:p>
        </p:txBody>
      </p:sp>
      <p:sp>
        <p:nvSpPr>
          <p:cNvPr id="11" name="文本占位符 10"/>
          <p:cNvSpPr>
            <a:spLocks noGrp="1"/>
          </p:cNvSpPr>
          <p:nvPr>
            <p:ph type="body" sz="quarter" idx="16"/>
          </p:nvPr>
        </p:nvSpPr>
        <p:spPr>
          <a:xfrm>
            <a:off x="515938" y="960699"/>
            <a:ext cx="2012948" cy="2644617"/>
          </a:xfrm>
          <a:solidFill>
            <a:schemeClr val="accent1"/>
          </a:solidFill>
        </p:spPr>
        <p:txBody>
          <a:bodyPr bIns="324000" anchor="b" anchorCtr="1"/>
          <a:lstStyle>
            <a:lvl1pPr marL="0" algn="ctr" defTabSz="685800" rtl="0" eaLnBrk="1" latinLnBrk="0" hangingPunct="1">
              <a:lnSpc>
                <a:spcPct val="90000"/>
              </a:lnSpc>
              <a:spcBef>
                <a:spcPct val="0"/>
              </a:spcBef>
              <a:defRPr lang="en-US" sz="2400" b="1" kern="1200" dirty="0">
                <a:ln w="6350">
                  <a:noFill/>
                </a:ln>
                <a:solidFill>
                  <a:srgbClr val="FFFFFF"/>
                </a:solidFill>
                <a:effectLst>
                  <a:outerShdw dist="63500" dir="3000000" algn="tl">
                    <a:srgbClr val="000000">
                      <a:alpha val="12000"/>
                    </a:srgbClr>
                  </a:outerShdw>
                </a:effectLst>
                <a:latin typeface="+mn-lt"/>
                <a:ea typeface="+mn-ea"/>
                <a:cs typeface="+mn-ea"/>
              </a:defRPr>
            </a:lvl1pPr>
          </a:lstStyle>
          <a:p>
            <a:pPr lvl="0"/>
            <a:endParaRPr lang="en-US" dirty="0"/>
          </a:p>
        </p:txBody>
      </p:sp>
      <p:sp>
        <p:nvSpPr>
          <p:cNvPr id="13" name="文本占位符 12"/>
          <p:cNvSpPr>
            <a:spLocks noGrp="1"/>
          </p:cNvSpPr>
          <p:nvPr>
            <p:ph type="body" sz="quarter" idx="17" hasCustomPrompt="1"/>
          </p:nvPr>
        </p:nvSpPr>
        <p:spPr>
          <a:xfrm>
            <a:off x="2899854" y="3170238"/>
            <a:ext cx="2011888" cy="365125"/>
          </a:xfrm>
        </p:spPr>
        <p:txBody>
          <a:bodyPr anchor="ctr"/>
          <a:lstStyle>
            <a:lvl1pPr algn="ctr">
              <a:defRPr sz="2000"/>
            </a:lvl1pPr>
          </a:lstStyle>
          <a:p>
            <a:pPr lvl="0"/>
            <a:r>
              <a:rPr lang="zh-CN" altLang="en-US" dirty="0"/>
              <a:t>请输入文案</a:t>
            </a:r>
            <a:endParaRPr lang="en-US" dirty="0"/>
          </a:p>
        </p:txBody>
      </p:sp>
      <p:sp>
        <p:nvSpPr>
          <p:cNvPr id="138" name="文本占位符 12"/>
          <p:cNvSpPr>
            <a:spLocks noGrp="1"/>
          </p:cNvSpPr>
          <p:nvPr>
            <p:ph type="body" sz="quarter" idx="18" hasCustomPrompt="1"/>
          </p:nvPr>
        </p:nvSpPr>
        <p:spPr>
          <a:xfrm>
            <a:off x="5219260" y="3170238"/>
            <a:ext cx="2011888" cy="365125"/>
          </a:xfrm>
        </p:spPr>
        <p:txBody>
          <a:bodyPr anchor="ctr"/>
          <a:lstStyle>
            <a:lvl1pPr algn="ctr">
              <a:defRPr sz="2000"/>
            </a:lvl1pPr>
          </a:lstStyle>
          <a:p>
            <a:pPr lvl="0"/>
            <a:r>
              <a:rPr lang="zh-CN" altLang="en-US" dirty="0"/>
              <a:t>请输入文案</a:t>
            </a:r>
            <a:endParaRPr lang="en-US" dirty="0"/>
          </a:p>
        </p:txBody>
      </p:sp>
      <p:sp>
        <p:nvSpPr>
          <p:cNvPr id="139" name="文本占位符 12"/>
          <p:cNvSpPr>
            <a:spLocks noGrp="1"/>
          </p:cNvSpPr>
          <p:nvPr>
            <p:ph type="body" sz="quarter" idx="19" hasCustomPrompt="1"/>
          </p:nvPr>
        </p:nvSpPr>
        <p:spPr>
          <a:xfrm>
            <a:off x="516468" y="5193592"/>
            <a:ext cx="2011888" cy="365125"/>
          </a:xfrm>
        </p:spPr>
        <p:txBody>
          <a:bodyPr anchor="ctr"/>
          <a:lstStyle>
            <a:lvl1pPr algn="ctr">
              <a:defRPr sz="2000"/>
            </a:lvl1pPr>
          </a:lstStyle>
          <a:p>
            <a:pPr lvl="0"/>
            <a:r>
              <a:rPr lang="zh-CN" altLang="en-US" dirty="0"/>
              <a:t>请输入文案</a:t>
            </a:r>
            <a:endParaRPr lang="en-US" dirty="0"/>
          </a:p>
        </p:txBody>
      </p:sp>
      <p:sp>
        <p:nvSpPr>
          <p:cNvPr id="140" name="文本占位符 12"/>
          <p:cNvSpPr>
            <a:spLocks noGrp="1"/>
          </p:cNvSpPr>
          <p:nvPr>
            <p:ph type="body" sz="quarter" idx="20" hasCustomPrompt="1"/>
          </p:nvPr>
        </p:nvSpPr>
        <p:spPr>
          <a:xfrm>
            <a:off x="2899854" y="5193592"/>
            <a:ext cx="2011888" cy="365125"/>
          </a:xfrm>
        </p:spPr>
        <p:txBody>
          <a:bodyPr anchor="ctr"/>
          <a:lstStyle>
            <a:lvl1pPr algn="ctr">
              <a:defRPr sz="2000"/>
            </a:lvl1pPr>
          </a:lstStyle>
          <a:p>
            <a:pPr lvl="0"/>
            <a:r>
              <a:rPr lang="zh-CN" altLang="en-US" dirty="0"/>
              <a:t>请输入文案</a:t>
            </a:r>
            <a:endParaRPr lang="en-US" dirty="0"/>
          </a:p>
        </p:txBody>
      </p:sp>
      <p:sp>
        <p:nvSpPr>
          <p:cNvPr id="141" name="文本占位符 12"/>
          <p:cNvSpPr>
            <a:spLocks noGrp="1"/>
          </p:cNvSpPr>
          <p:nvPr>
            <p:ph type="body" sz="quarter" idx="21" hasCustomPrompt="1"/>
          </p:nvPr>
        </p:nvSpPr>
        <p:spPr>
          <a:xfrm>
            <a:off x="5219260" y="5193592"/>
            <a:ext cx="2011888" cy="365125"/>
          </a:xfrm>
        </p:spPr>
        <p:txBody>
          <a:bodyPr anchor="ctr"/>
          <a:lstStyle>
            <a:lvl1pPr algn="ctr">
              <a:defRPr sz="2000"/>
            </a:lvl1pPr>
          </a:lstStyle>
          <a:p>
            <a:pPr lvl="0"/>
            <a:r>
              <a:rPr lang="zh-CN" altLang="en-US" dirty="0"/>
              <a:t>请输入文案</a:t>
            </a:r>
            <a:endParaRPr lang="en-US" dirty="0"/>
          </a:p>
        </p:txBody>
      </p:sp>
      <p:sp>
        <p:nvSpPr>
          <p:cNvPr id="142" name="文本占位符 12"/>
          <p:cNvSpPr>
            <a:spLocks noGrp="1"/>
          </p:cNvSpPr>
          <p:nvPr>
            <p:ph type="body" sz="quarter" idx="22" hasCustomPrompt="1"/>
          </p:nvPr>
        </p:nvSpPr>
        <p:spPr>
          <a:xfrm>
            <a:off x="7554743" y="5193592"/>
            <a:ext cx="4157833" cy="365125"/>
          </a:xfrm>
        </p:spPr>
        <p:txBody>
          <a:bodyPr anchor="ctr"/>
          <a:lstStyle>
            <a:lvl1pPr algn="ctr">
              <a:defRPr sz="2000"/>
            </a:lvl1pPr>
          </a:lstStyle>
          <a:p>
            <a:pPr lvl="0"/>
            <a:r>
              <a:rPr lang="zh-CN" altLang="en-US" dirty="0"/>
              <a:t>请输入文案</a:t>
            </a:r>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2" name="任意多边形: 形状 111"/>
          <p:cNvSpPr/>
          <p:nvPr userDrawn="1"/>
        </p:nvSpPr>
        <p:spPr>
          <a:xfrm flipV="1">
            <a:off x="0" y="4388818"/>
            <a:ext cx="12192000" cy="1981678"/>
          </a:xfrm>
          <a:custGeom>
            <a:avLst/>
            <a:gdLst>
              <a:gd name="connsiteX0" fmla="*/ 6096000 w 12192000"/>
              <a:gd name="connsiteY0" fmla="*/ 1981678 h 1981678"/>
              <a:gd name="connsiteX1" fmla="*/ 12187594 w 12192000"/>
              <a:gd name="connsiteY1" fmla="*/ 859019 h 1981678"/>
              <a:gd name="connsiteX2" fmla="*/ 12192000 w 12192000"/>
              <a:gd name="connsiteY2" fmla="*/ 853440 h 1981678"/>
              <a:gd name="connsiteX3" fmla="*/ 12192000 w 12192000"/>
              <a:gd name="connsiteY3" fmla="*/ 0 h 1981678"/>
              <a:gd name="connsiteX4" fmla="*/ 12187594 w 12192000"/>
              <a:gd name="connsiteY4" fmla="*/ 5579 h 1981678"/>
              <a:gd name="connsiteX5" fmla="*/ 6096000 w 12192000"/>
              <a:gd name="connsiteY5" fmla="*/ 1128238 h 1981678"/>
              <a:gd name="connsiteX6" fmla="*/ 4406 w 12192000"/>
              <a:gd name="connsiteY6" fmla="*/ 5579 h 1981678"/>
              <a:gd name="connsiteX7" fmla="*/ 0 w 12192000"/>
              <a:gd name="connsiteY7" fmla="*/ 0 h 1981678"/>
              <a:gd name="connsiteX8" fmla="*/ 0 w 12192000"/>
              <a:gd name="connsiteY8" fmla="*/ 853440 h 1981678"/>
              <a:gd name="connsiteX9" fmla="*/ 4406 w 12192000"/>
              <a:gd name="connsiteY9" fmla="*/ 859019 h 1981678"/>
              <a:gd name="connsiteX10" fmla="*/ 6096000 w 12192000"/>
              <a:gd name="connsiteY10" fmla="*/ 1981678 h 198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1981678">
                <a:moveTo>
                  <a:pt x="6096000" y="1981678"/>
                </a:moveTo>
                <a:cubicBezTo>
                  <a:pt x="9100804" y="1981678"/>
                  <a:pt x="11607796" y="1499720"/>
                  <a:pt x="12187594" y="859019"/>
                </a:cubicBezTo>
                <a:lnTo>
                  <a:pt x="12192000" y="853440"/>
                </a:lnTo>
                <a:lnTo>
                  <a:pt x="12192000" y="0"/>
                </a:lnTo>
                <a:lnTo>
                  <a:pt x="12187594" y="5579"/>
                </a:lnTo>
                <a:cubicBezTo>
                  <a:pt x="11607796" y="646280"/>
                  <a:pt x="9100804" y="1128238"/>
                  <a:pt x="6096000" y="1128238"/>
                </a:cubicBezTo>
                <a:cubicBezTo>
                  <a:pt x="3091196" y="1128238"/>
                  <a:pt x="584204" y="646280"/>
                  <a:pt x="4406" y="5579"/>
                </a:cubicBezTo>
                <a:lnTo>
                  <a:pt x="0" y="0"/>
                </a:lnTo>
                <a:lnTo>
                  <a:pt x="0" y="853440"/>
                </a:lnTo>
                <a:lnTo>
                  <a:pt x="4406" y="859019"/>
                </a:lnTo>
                <a:cubicBezTo>
                  <a:pt x="584204" y="1499720"/>
                  <a:pt x="3091196" y="1981678"/>
                  <a:pt x="6096000" y="1981678"/>
                </a:cubicBezTo>
                <a:close/>
              </a:path>
            </a:pathLst>
          </a:cu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solidFill>
                <a:srgbClr val="FFFFFF"/>
              </a:solidFill>
              <a:cs typeface="+mn-ea"/>
              <a:sym typeface="+mn-lt"/>
            </a:endParaRPr>
          </a:p>
        </p:txBody>
      </p:sp>
      <p:sp>
        <p:nvSpPr>
          <p:cNvPr id="113" name="任意多边形: 形状 112"/>
          <p:cNvSpPr/>
          <p:nvPr userDrawn="1"/>
        </p:nvSpPr>
        <p:spPr>
          <a:xfrm flipV="1">
            <a:off x="0" y="43797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solidFill>
                <a:srgbClr val="FFFFFF"/>
              </a:solidFill>
              <a:cs typeface="+mn-ea"/>
              <a:sym typeface="+mn-lt"/>
            </a:endParaRPr>
          </a:p>
        </p:txBody>
      </p:sp>
      <p:cxnSp>
        <p:nvCxnSpPr>
          <p:cNvPr id="118" name="直接连接符 117"/>
          <p:cNvCxnSpPr/>
          <p:nvPr userDrawn="1"/>
        </p:nvCxnSpPr>
        <p:spPr>
          <a:xfrm>
            <a:off x="2032000" y="4786553"/>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userDrawn="1"/>
        </p:nvCxnSpPr>
        <p:spPr>
          <a:xfrm>
            <a:off x="4086352" y="4542713"/>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userDrawn="1"/>
        </p:nvCxnSpPr>
        <p:spPr>
          <a:xfrm>
            <a:off x="6104128" y="4469561"/>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直接连接符 120"/>
          <p:cNvCxnSpPr/>
          <p:nvPr userDrawn="1"/>
        </p:nvCxnSpPr>
        <p:spPr>
          <a:xfrm>
            <a:off x="8128000" y="4548809"/>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直接连接符 121"/>
          <p:cNvCxnSpPr/>
          <p:nvPr userDrawn="1"/>
        </p:nvCxnSpPr>
        <p:spPr>
          <a:xfrm>
            <a:off x="10145643" y="4817166"/>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3" name="任意多边形: 形状 122"/>
          <p:cNvSpPr/>
          <p:nvPr userDrawn="1"/>
        </p:nvSpPr>
        <p:spPr>
          <a:xfrm flipV="1">
            <a:off x="0" y="53195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24" name="任意多边形: 形状 123"/>
          <p:cNvSpPr/>
          <p:nvPr userDrawn="1"/>
        </p:nvSpPr>
        <p:spPr>
          <a:xfrm>
            <a:off x="0" y="8999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25" name="任意多边形: 形状 124"/>
          <p:cNvSpPr/>
          <p:nvPr userDrawn="1"/>
        </p:nvSpPr>
        <p:spPr>
          <a:xfrm>
            <a:off x="0" y="78819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26" name="任意多边形: 形状 125"/>
          <p:cNvSpPr/>
          <p:nvPr userDrawn="1"/>
        </p:nvSpPr>
        <p:spPr>
          <a:xfrm flipV="1">
            <a:off x="0" y="5436392"/>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9" name="文本占位符 18"/>
          <p:cNvSpPr>
            <a:spLocks noGrp="1"/>
          </p:cNvSpPr>
          <p:nvPr>
            <p:ph type="body" sz="quarter" idx="16"/>
          </p:nvPr>
        </p:nvSpPr>
        <p:spPr>
          <a:xfrm>
            <a:off x="3499413" y="1196975"/>
            <a:ext cx="5193174" cy="481354"/>
          </a:xfrm>
          <a:noFill/>
          <a:ln>
            <a:noFill/>
          </a:ln>
        </p:spPr>
        <p:txBody>
          <a:bodyPr wrap="square" lIns="91440" tIns="45720" rIns="91440" bIns="45720" anchor="ctr" anchorCtr="0">
            <a:noAutofit/>
          </a:bodyPr>
          <a:lstStyle>
            <a:lvl1pPr algn="ctr">
              <a:defRPr lang="en-US" b="1" dirty="0">
                <a:solidFill>
                  <a:schemeClr val="accent1"/>
                </a:solidFill>
                <a:cs typeface="+mn-ea"/>
              </a:defRPr>
            </a:lvl1pPr>
          </a:lstStyle>
          <a:p>
            <a:pPr lvl="0" algn="ctr">
              <a:buSzPct val="25000"/>
            </a:pPr>
            <a:endParaRPr lang="en-US" dirty="0"/>
          </a:p>
        </p:txBody>
      </p:sp>
      <p:sp>
        <p:nvSpPr>
          <p:cNvPr id="136" name="图片占位符 135"/>
          <p:cNvSpPr>
            <a:spLocks noGrp="1"/>
          </p:cNvSpPr>
          <p:nvPr>
            <p:ph type="pic" sz="quarter" idx="10"/>
          </p:nvPr>
        </p:nvSpPr>
        <p:spPr>
          <a:xfrm>
            <a:off x="0" y="1018362"/>
            <a:ext cx="2026000" cy="4498694"/>
          </a:xfrm>
          <a:custGeom>
            <a:avLst/>
            <a:gdLst>
              <a:gd name="connsiteX0" fmla="*/ 0 w 2026000"/>
              <a:gd name="connsiteY0" fmla="*/ 0 h 4498694"/>
              <a:gd name="connsiteX1" fmla="*/ 7260 w 2026000"/>
              <a:gd name="connsiteY1" fmla="*/ 0 h 4498694"/>
              <a:gd name="connsiteX2" fmla="*/ 157626 w 2026000"/>
              <a:gd name="connsiteY2" fmla="*/ 132236 h 4498694"/>
              <a:gd name="connsiteX3" fmla="*/ 1998705 w 2026000"/>
              <a:gd name="connsiteY3" fmla="*/ 771745 h 4498694"/>
              <a:gd name="connsiteX4" fmla="*/ 2026000 w 2026000"/>
              <a:gd name="connsiteY4" fmla="*/ 776746 h 4498694"/>
              <a:gd name="connsiteX5" fmla="*/ 2026000 w 2026000"/>
              <a:gd name="connsiteY5" fmla="*/ 3713878 h 4498694"/>
              <a:gd name="connsiteX6" fmla="*/ 1942892 w 2026000"/>
              <a:gd name="connsiteY6" fmla="*/ 3730059 h 4498694"/>
              <a:gd name="connsiteX7" fmla="*/ 4406 w 2026000"/>
              <a:gd name="connsiteY7" fmla="*/ 4493115 h 4498694"/>
              <a:gd name="connsiteX8" fmla="*/ 0 w 2026000"/>
              <a:gd name="connsiteY8" fmla="*/ 4498694 h 4498694"/>
              <a:gd name="connsiteX9" fmla="*/ 0 w 2026000"/>
              <a:gd name="connsiteY9" fmla="*/ 664967 h 4498694"/>
              <a:gd name="connsiteX10" fmla="*/ 0 w 2026000"/>
              <a:gd name="connsiteY10" fmla="*/ 536295 h 449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6000" h="4498694">
                <a:moveTo>
                  <a:pt x="0" y="0"/>
                </a:moveTo>
                <a:lnTo>
                  <a:pt x="7260" y="0"/>
                </a:lnTo>
                <a:lnTo>
                  <a:pt x="157626" y="132236"/>
                </a:lnTo>
                <a:cubicBezTo>
                  <a:pt x="502052" y="382638"/>
                  <a:pt x="1147691" y="603031"/>
                  <a:pt x="1998705" y="771745"/>
                </a:cubicBezTo>
                <a:lnTo>
                  <a:pt x="2026000" y="776746"/>
                </a:lnTo>
                <a:lnTo>
                  <a:pt x="2026000" y="3713878"/>
                </a:lnTo>
                <a:lnTo>
                  <a:pt x="1942892" y="3730059"/>
                </a:lnTo>
                <a:cubicBezTo>
                  <a:pt x="971422" y="3927338"/>
                  <a:pt x="276186" y="4192786"/>
                  <a:pt x="4406" y="4493115"/>
                </a:cubicBezTo>
                <a:lnTo>
                  <a:pt x="0" y="4498694"/>
                </a:lnTo>
                <a:lnTo>
                  <a:pt x="0" y="664967"/>
                </a:lnTo>
                <a:lnTo>
                  <a:pt x="0" y="536295"/>
                </a:lnTo>
                <a:close/>
              </a:path>
            </a:pathLst>
          </a:custGeom>
          <a:solidFill>
            <a:schemeClr val="accent1">
              <a:lumMod val="20000"/>
              <a:lumOff val="80000"/>
            </a:schemeClr>
          </a:solidFill>
        </p:spPr>
        <p:txBody>
          <a:bodyPr wrap="square">
            <a:noAutofit/>
          </a:bodyPr>
          <a:lstStyle/>
          <a:p>
            <a:endParaRPr lang="en-US" dirty="0"/>
          </a:p>
        </p:txBody>
      </p:sp>
      <p:sp>
        <p:nvSpPr>
          <p:cNvPr id="137" name="图片占位符 136"/>
          <p:cNvSpPr>
            <a:spLocks noGrp="1"/>
          </p:cNvSpPr>
          <p:nvPr>
            <p:ph type="pic" sz="quarter" idx="11"/>
          </p:nvPr>
        </p:nvSpPr>
        <p:spPr>
          <a:xfrm>
            <a:off x="2062000" y="1801704"/>
            <a:ext cx="1990000" cy="2923527"/>
          </a:xfrm>
          <a:custGeom>
            <a:avLst/>
            <a:gdLst>
              <a:gd name="connsiteX0" fmla="*/ 0 w 1990000"/>
              <a:gd name="connsiteY0" fmla="*/ 0 h 2923527"/>
              <a:gd name="connsiteX1" fmla="*/ 313720 w 1990000"/>
              <a:gd name="connsiteY1" fmla="*/ 57481 h 2923527"/>
              <a:gd name="connsiteX2" fmla="*/ 1578889 w 1990000"/>
              <a:gd name="connsiteY2" fmla="*/ 222957 h 2923527"/>
              <a:gd name="connsiteX3" fmla="*/ 1990000 w 1990000"/>
              <a:gd name="connsiteY3" fmla="*/ 258619 h 2923527"/>
              <a:gd name="connsiteX4" fmla="*/ 1990000 w 1990000"/>
              <a:gd name="connsiteY4" fmla="*/ 2665682 h 2923527"/>
              <a:gd name="connsiteX5" fmla="*/ 1896071 w 1990000"/>
              <a:gd name="connsiteY5" fmla="*/ 2672431 h 2923527"/>
              <a:gd name="connsiteX6" fmla="*/ 78826 w 1990000"/>
              <a:gd name="connsiteY6" fmla="*/ 2908181 h 2923527"/>
              <a:gd name="connsiteX7" fmla="*/ 0 w 1990000"/>
              <a:gd name="connsiteY7" fmla="*/ 2923527 h 29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923527">
                <a:moveTo>
                  <a:pt x="0" y="0"/>
                </a:moveTo>
                <a:lnTo>
                  <a:pt x="313720" y="57481"/>
                </a:lnTo>
                <a:cubicBezTo>
                  <a:pt x="702750" y="123269"/>
                  <a:pt x="1126988" y="178997"/>
                  <a:pt x="1578889" y="222957"/>
                </a:cubicBezTo>
                <a:lnTo>
                  <a:pt x="1990000" y="258619"/>
                </a:lnTo>
                <a:lnTo>
                  <a:pt x="1990000" y="2665682"/>
                </a:lnTo>
                <a:lnTo>
                  <a:pt x="1896071" y="2672431"/>
                </a:lnTo>
                <a:cubicBezTo>
                  <a:pt x="1229431" y="2727625"/>
                  <a:pt x="616238" y="2807892"/>
                  <a:pt x="78826" y="2908181"/>
                </a:cubicBezTo>
                <a:lnTo>
                  <a:pt x="0" y="2923527"/>
                </a:lnTo>
                <a:close/>
              </a:path>
            </a:pathLst>
          </a:custGeom>
          <a:solidFill>
            <a:schemeClr val="accent1">
              <a:lumMod val="20000"/>
              <a:lumOff val="80000"/>
            </a:schemeClr>
          </a:solidFill>
        </p:spPr>
        <p:txBody>
          <a:bodyPr wrap="square">
            <a:noAutofit/>
          </a:bodyPr>
          <a:lstStyle/>
          <a:p>
            <a:endParaRPr lang="en-US"/>
          </a:p>
        </p:txBody>
      </p:sp>
      <p:sp>
        <p:nvSpPr>
          <p:cNvPr id="138" name="图片占位符 137"/>
          <p:cNvSpPr>
            <a:spLocks noGrp="1"/>
          </p:cNvSpPr>
          <p:nvPr>
            <p:ph type="pic" sz="quarter" idx="12"/>
          </p:nvPr>
        </p:nvSpPr>
        <p:spPr>
          <a:xfrm>
            <a:off x="4088000" y="2063447"/>
            <a:ext cx="1990000" cy="2401353"/>
          </a:xfrm>
          <a:custGeom>
            <a:avLst/>
            <a:gdLst>
              <a:gd name="connsiteX0" fmla="*/ 0 w 1990000"/>
              <a:gd name="connsiteY0" fmla="*/ 0 h 2401353"/>
              <a:gd name="connsiteX1" fmla="*/ 13732 w 1990000"/>
              <a:gd name="connsiteY1" fmla="*/ 1191 h 2401353"/>
              <a:gd name="connsiteX2" fmla="*/ 1490152 w 1990000"/>
              <a:gd name="connsiteY2" fmla="*/ 70259 h 2401353"/>
              <a:gd name="connsiteX3" fmla="*/ 1990000 w 1990000"/>
              <a:gd name="connsiteY3" fmla="*/ 74899 h 2401353"/>
              <a:gd name="connsiteX4" fmla="*/ 1990000 w 1990000"/>
              <a:gd name="connsiteY4" fmla="*/ 2325551 h 2401353"/>
              <a:gd name="connsiteX5" fmla="*/ 1450782 w 1990000"/>
              <a:gd name="connsiteY5" fmla="*/ 2330940 h 2401353"/>
              <a:gd name="connsiteX6" fmla="*/ 379724 w 1990000"/>
              <a:gd name="connsiteY6" fmla="*/ 2374072 h 2401353"/>
              <a:gd name="connsiteX7" fmla="*/ 0 w 1990000"/>
              <a:gd name="connsiteY7" fmla="*/ 2401353 h 240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401353">
                <a:moveTo>
                  <a:pt x="0" y="0"/>
                </a:moveTo>
                <a:lnTo>
                  <a:pt x="13732" y="1191"/>
                </a:lnTo>
                <a:cubicBezTo>
                  <a:pt x="483238" y="37118"/>
                  <a:pt x="977893" y="60709"/>
                  <a:pt x="1490152" y="70259"/>
                </a:cubicBezTo>
                <a:lnTo>
                  <a:pt x="1990000" y="74899"/>
                </a:lnTo>
                <a:lnTo>
                  <a:pt x="1990000" y="2325551"/>
                </a:lnTo>
                <a:lnTo>
                  <a:pt x="1450782" y="2330940"/>
                </a:lnTo>
                <a:cubicBezTo>
                  <a:pt x="1083658" y="2338313"/>
                  <a:pt x="725708" y="2352900"/>
                  <a:pt x="379724" y="2374072"/>
                </a:cubicBezTo>
                <a:lnTo>
                  <a:pt x="0" y="2401353"/>
                </a:lnTo>
                <a:close/>
              </a:path>
            </a:pathLst>
          </a:custGeom>
          <a:solidFill>
            <a:schemeClr val="accent1">
              <a:lumMod val="20000"/>
              <a:lumOff val="80000"/>
            </a:schemeClr>
          </a:solidFill>
        </p:spPr>
        <p:txBody>
          <a:bodyPr wrap="square">
            <a:noAutofit/>
          </a:bodyPr>
          <a:lstStyle/>
          <a:p>
            <a:endParaRPr lang="en-US"/>
          </a:p>
        </p:txBody>
      </p:sp>
      <p:sp>
        <p:nvSpPr>
          <p:cNvPr id="139" name="图片占位符 138"/>
          <p:cNvSpPr>
            <a:spLocks noGrp="1"/>
          </p:cNvSpPr>
          <p:nvPr>
            <p:ph type="pic" sz="quarter" idx="13"/>
          </p:nvPr>
        </p:nvSpPr>
        <p:spPr>
          <a:xfrm>
            <a:off x="6114000" y="2063447"/>
            <a:ext cx="1990000" cy="2401353"/>
          </a:xfrm>
          <a:custGeom>
            <a:avLst/>
            <a:gdLst>
              <a:gd name="connsiteX0" fmla="*/ 1990000 w 1990000"/>
              <a:gd name="connsiteY0" fmla="*/ 0 h 2401353"/>
              <a:gd name="connsiteX1" fmla="*/ 1990000 w 1990000"/>
              <a:gd name="connsiteY1" fmla="*/ 2401353 h 2401353"/>
              <a:gd name="connsiteX2" fmla="*/ 1610276 w 1990000"/>
              <a:gd name="connsiteY2" fmla="*/ 2374072 h 2401353"/>
              <a:gd name="connsiteX3" fmla="*/ 539218 w 1990000"/>
              <a:gd name="connsiteY3" fmla="*/ 2330940 h 2401353"/>
              <a:gd name="connsiteX4" fmla="*/ 0 w 1990000"/>
              <a:gd name="connsiteY4" fmla="*/ 2325551 h 2401353"/>
              <a:gd name="connsiteX5" fmla="*/ 0 w 1990000"/>
              <a:gd name="connsiteY5" fmla="*/ 74899 h 2401353"/>
              <a:gd name="connsiteX6" fmla="*/ 499848 w 1990000"/>
              <a:gd name="connsiteY6" fmla="*/ 70259 h 2401353"/>
              <a:gd name="connsiteX7" fmla="*/ 1976268 w 1990000"/>
              <a:gd name="connsiteY7" fmla="*/ 1191 h 240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401353">
                <a:moveTo>
                  <a:pt x="1990000" y="0"/>
                </a:moveTo>
                <a:lnTo>
                  <a:pt x="1990000" y="2401353"/>
                </a:lnTo>
                <a:lnTo>
                  <a:pt x="1610276" y="2374072"/>
                </a:lnTo>
                <a:cubicBezTo>
                  <a:pt x="1264293" y="2352900"/>
                  <a:pt x="906343" y="2338313"/>
                  <a:pt x="539218" y="2330940"/>
                </a:cubicBezTo>
                <a:lnTo>
                  <a:pt x="0" y="2325551"/>
                </a:lnTo>
                <a:lnTo>
                  <a:pt x="0" y="74899"/>
                </a:lnTo>
                <a:lnTo>
                  <a:pt x="499848" y="70259"/>
                </a:lnTo>
                <a:cubicBezTo>
                  <a:pt x="1012108" y="60709"/>
                  <a:pt x="1506762" y="37118"/>
                  <a:pt x="1976268" y="1191"/>
                </a:cubicBezTo>
                <a:close/>
              </a:path>
            </a:pathLst>
          </a:custGeom>
          <a:solidFill>
            <a:schemeClr val="accent1">
              <a:lumMod val="20000"/>
              <a:lumOff val="80000"/>
            </a:schemeClr>
          </a:solidFill>
        </p:spPr>
        <p:txBody>
          <a:bodyPr wrap="square">
            <a:noAutofit/>
          </a:bodyPr>
          <a:lstStyle/>
          <a:p>
            <a:endParaRPr lang="en-US"/>
          </a:p>
        </p:txBody>
      </p:sp>
      <p:sp>
        <p:nvSpPr>
          <p:cNvPr id="140" name="图片占位符 139"/>
          <p:cNvSpPr>
            <a:spLocks noGrp="1"/>
          </p:cNvSpPr>
          <p:nvPr>
            <p:ph type="pic" sz="quarter" idx="14"/>
          </p:nvPr>
        </p:nvSpPr>
        <p:spPr>
          <a:xfrm>
            <a:off x="8140000" y="1801704"/>
            <a:ext cx="1990000" cy="2909325"/>
          </a:xfrm>
          <a:custGeom>
            <a:avLst/>
            <a:gdLst>
              <a:gd name="connsiteX0" fmla="*/ 1990000 w 1990000"/>
              <a:gd name="connsiteY0" fmla="*/ 0 h 2909325"/>
              <a:gd name="connsiteX1" fmla="*/ 1990000 w 1990000"/>
              <a:gd name="connsiteY1" fmla="*/ 2909325 h 2909325"/>
              <a:gd name="connsiteX2" fmla="*/ 1917050 w 1990000"/>
              <a:gd name="connsiteY2" fmla="*/ 2909325 h 2909325"/>
              <a:gd name="connsiteX3" fmla="*/ 1911174 w 1990000"/>
              <a:gd name="connsiteY3" fmla="*/ 2908181 h 2909325"/>
              <a:gd name="connsiteX4" fmla="*/ 93929 w 1990000"/>
              <a:gd name="connsiteY4" fmla="*/ 2672431 h 2909325"/>
              <a:gd name="connsiteX5" fmla="*/ 0 w 1990000"/>
              <a:gd name="connsiteY5" fmla="*/ 2665682 h 2909325"/>
              <a:gd name="connsiteX6" fmla="*/ 0 w 1990000"/>
              <a:gd name="connsiteY6" fmla="*/ 258619 h 2909325"/>
              <a:gd name="connsiteX7" fmla="*/ 411111 w 1990000"/>
              <a:gd name="connsiteY7" fmla="*/ 222957 h 2909325"/>
              <a:gd name="connsiteX8" fmla="*/ 1676281 w 1990000"/>
              <a:gd name="connsiteY8" fmla="*/ 57481 h 290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0000" h="2909325">
                <a:moveTo>
                  <a:pt x="1990000" y="0"/>
                </a:moveTo>
                <a:lnTo>
                  <a:pt x="1990000" y="2909325"/>
                </a:lnTo>
                <a:lnTo>
                  <a:pt x="1917050" y="2909325"/>
                </a:lnTo>
                <a:lnTo>
                  <a:pt x="1911174" y="2908181"/>
                </a:lnTo>
                <a:cubicBezTo>
                  <a:pt x="1373763" y="2807892"/>
                  <a:pt x="760570" y="2727625"/>
                  <a:pt x="93929" y="2672431"/>
                </a:cubicBezTo>
                <a:lnTo>
                  <a:pt x="0" y="2665682"/>
                </a:lnTo>
                <a:lnTo>
                  <a:pt x="0" y="258619"/>
                </a:lnTo>
                <a:lnTo>
                  <a:pt x="411111" y="222957"/>
                </a:lnTo>
                <a:cubicBezTo>
                  <a:pt x="863012" y="178997"/>
                  <a:pt x="1287250" y="123269"/>
                  <a:pt x="1676281" y="57481"/>
                </a:cubicBezTo>
                <a:close/>
              </a:path>
            </a:pathLst>
          </a:custGeom>
          <a:solidFill>
            <a:schemeClr val="accent1">
              <a:lumMod val="20000"/>
              <a:lumOff val="80000"/>
            </a:schemeClr>
          </a:solidFill>
        </p:spPr>
        <p:txBody>
          <a:bodyPr wrap="square">
            <a:noAutofit/>
          </a:bodyPr>
          <a:lstStyle/>
          <a:p>
            <a:endParaRPr lang="en-US"/>
          </a:p>
        </p:txBody>
      </p:sp>
      <p:sp>
        <p:nvSpPr>
          <p:cNvPr id="141" name="图片占位符 140"/>
          <p:cNvSpPr>
            <a:spLocks noGrp="1"/>
          </p:cNvSpPr>
          <p:nvPr>
            <p:ph type="pic" sz="quarter" idx="15"/>
          </p:nvPr>
        </p:nvSpPr>
        <p:spPr>
          <a:xfrm>
            <a:off x="10166000" y="1018362"/>
            <a:ext cx="2026000" cy="4498692"/>
          </a:xfrm>
          <a:custGeom>
            <a:avLst/>
            <a:gdLst>
              <a:gd name="connsiteX0" fmla="*/ 2018741 w 2026000"/>
              <a:gd name="connsiteY0" fmla="*/ 0 h 4498692"/>
              <a:gd name="connsiteX1" fmla="*/ 2026000 w 2026000"/>
              <a:gd name="connsiteY1" fmla="*/ 0 h 4498692"/>
              <a:gd name="connsiteX2" fmla="*/ 2026000 w 2026000"/>
              <a:gd name="connsiteY2" fmla="*/ 664967 h 4498692"/>
              <a:gd name="connsiteX3" fmla="*/ 2025999 w 2026000"/>
              <a:gd name="connsiteY3" fmla="*/ 664967 h 4498692"/>
              <a:gd name="connsiteX4" fmla="*/ 2025999 w 2026000"/>
              <a:gd name="connsiteY4" fmla="*/ 4498692 h 4498692"/>
              <a:gd name="connsiteX5" fmla="*/ 2021594 w 2026000"/>
              <a:gd name="connsiteY5" fmla="*/ 4493115 h 4498692"/>
              <a:gd name="connsiteX6" fmla="*/ 83108 w 2026000"/>
              <a:gd name="connsiteY6" fmla="*/ 3730059 h 4498692"/>
              <a:gd name="connsiteX7" fmla="*/ 0 w 2026000"/>
              <a:gd name="connsiteY7" fmla="*/ 3713878 h 4498692"/>
              <a:gd name="connsiteX8" fmla="*/ 0 w 2026000"/>
              <a:gd name="connsiteY8" fmla="*/ 776746 h 4498692"/>
              <a:gd name="connsiteX9" fmla="*/ 27296 w 2026000"/>
              <a:gd name="connsiteY9" fmla="*/ 771745 h 4498692"/>
              <a:gd name="connsiteX10" fmla="*/ 1868375 w 2026000"/>
              <a:gd name="connsiteY10" fmla="*/ 132236 h 449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6000" h="4498692">
                <a:moveTo>
                  <a:pt x="2018741" y="0"/>
                </a:moveTo>
                <a:lnTo>
                  <a:pt x="2026000" y="0"/>
                </a:lnTo>
                <a:lnTo>
                  <a:pt x="2026000" y="664967"/>
                </a:lnTo>
                <a:lnTo>
                  <a:pt x="2025999" y="664967"/>
                </a:lnTo>
                <a:lnTo>
                  <a:pt x="2025999" y="4498692"/>
                </a:lnTo>
                <a:lnTo>
                  <a:pt x="2021594" y="4493115"/>
                </a:lnTo>
                <a:cubicBezTo>
                  <a:pt x="1749814" y="4192786"/>
                  <a:pt x="1054578" y="3927338"/>
                  <a:pt x="83108" y="3730059"/>
                </a:cubicBezTo>
                <a:lnTo>
                  <a:pt x="0" y="3713878"/>
                </a:lnTo>
                <a:lnTo>
                  <a:pt x="0" y="776746"/>
                </a:lnTo>
                <a:lnTo>
                  <a:pt x="27296" y="771745"/>
                </a:lnTo>
                <a:cubicBezTo>
                  <a:pt x="878310" y="603031"/>
                  <a:pt x="1523949" y="382638"/>
                  <a:pt x="1868375" y="132236"/>
                </a:cubicBezTo>
                <a:close/>
              </a:path>
            </a:pathLst>
          </a:custGeom>
          <a:solidFill>
            <a:schemeClr val="accent1">
              <a:lumMod val="20000"/>
              <a:lumOff val="80000"/>
            </a:schemeClr>
          </a:solidFill>
        </p:spPr>
        <p:txBody>
          <a:bodyPr wrap="square">
            <a:noAutofit/>
          </a:bodyPr>
          <a:lstStyle/>
          <a:p>
            <a:endParaRPr lang="en-US"/>
          </a:p>
        </p:txBody>
      </p:sp>
      <p:sp>
        <p:nvSpPr>
          <p:cNvPr id="21" name="文本占位符 20"/>
          <p:cNvSpPr>
            <a:spLocks noGrp="1"/>
          </p:cNvSpPr>
          <p:nvPr>
            <p:ph type="body" sz="quarter" idx="17" hasCustomPrompt="1"/>
          </p:nvPr>
        </p:nvSpPr>
        <p:spPr>
          <a:xfrm rot="20473700">
            <a:off x="205739" y="5317113"/>
            <a:ext cx="1661162" cy="307777"/>
          </a:xfrm>
          <a:noFill/>
        </p:spPr>
        <p:txBody>
          <a:bodyPr wrap="none" lIns="72000" tIns="0" rIns="72000" bIns="0" rtlCol="0" anchor="ctr">
            <a:noAutofit/>
          </a:bodyPr>
          <a:lstStyle>
            <a:lvl1pPr marL="0" marR="0" indent="0" algn="ctr" defTabSz="914400" rtl="0" eaLnBrk="1" fontAlgn="auto" latinLnBrk="0" hangingPunct="1">
              <a:lnSpc>
                <a:spcPct val="100000"/>
              </a:lnSpc>
              <a:spcBef>
                <a:spcPts val="0"/>
              </a:spcBef>
              <a:spcAft>
                <a:spcPts val="0"/>
              </a:spcAft>
              <a:buClrTx/>
              <a:buSzTx/>
              <a:buFontTx/>
              <a:buNone/>
              <a:defRPr lang="en-US" sz="2000">
                <a:solidFill>
                  <a:srgbClr val="FFFFFF"/>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2" name="文本占位符 20"/>
          <p:cNvSpPr>
            <a:spLocks noGrp="1"/>
          </p:cNvSpPr>
          <p:nvPr>
            <p:ph type="body" sz="quarter" idx="18" hasCustomPrompt="1"/>
          </p:nvPr>
        </p:nvSpPr>
        <p:spPr>
          <a:xfrm rot="21090254">
            <a:off x="2263139" y="4859913"/>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3" name="文本占位符 20"/>
          <p:cNvSpPr>
            <a:spLocks noGrp="1"/>
          </p:cNvSpPr>
          <p:nvPr>
            <p:ph type="body" sz="quarter" idx="19" hasCustomPrompt="1"/>
          </p:nvPr>
        </p:nvSpPr>
        <p:spPr>
          <a:xfrm>
            <a:off x="4312920" y="469989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4" name="文本占位符 20"/>
          <p:cNvSpPr>
            <a:spLocks noGrp="1"/>
          </p:cNvSpPr>
          <p:nvPr>
            <p:ph type="body" sz="quarter" idx="20" hasCustomPrompt="1"/>
          </p:nvPr>
        </p:nvSpPr>
        <p:spPr>
          <a:xfrm>
            <a:off x="6286500" y="469989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5" name="文本占位符 20"/>
          <p:cNvSpPr>
            <a:spLocks noGrp="1"/>
          </p:cNvSpPr>
          <p:nvPr>
            <p:ph type="body" sz="quarter" idx="21" hasCustomPrompt="1"/>
          </p:nvPr>
        </p:nvSpPr>
        <p:spPr>
          <a:xfrm rot="509746" flipH="1">
            <a:off x="8323471" y="485991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6" name="文本占位符 20"/>
          <p:cNvSpPr>
            <a:spLocks noGrp="1"/>
          </p:cNvSpPr>
          <p:nvPr>
            <p:ph type="body" sz="quarter" idx="22" hasCustomPrompt="1"/>
          </p:nvPr>
        </p:nvSpPr>
        <p:spPr>
          <a:xfrm rot="1126300" flipH="1">
            <a:off x="10341961" y="5317112"/>
            <a:ext cx="1661162" cy="307777"/>
          </a:xfrm>
          <a:noFill/>
        </p:spPr>
        <p:txBody>
          <a:bodyPr wrap="none" lIns="72000" tIns="0" rIns="72000" bIns="0" rtlCol="0" anchor="ctr">
            <a:noAutofit/>
          </a:bodyPr>
          <a:lstStyle>
            <a:lvl1pPr marL="0" marR="0" indent="0" algn="ctr" defTabSz="914400" rtl="0" eaLnBrk="1" fontAlgn="auto" latinLnBrk="0" hangingPunct="1">
              <a:lnSpc>
                <a:spcPct val="100000"/>
              </a:lnSpc>
              <a:spcBef>
                <a:spcPts val="0"/>
              </a:spcBef>
              <a:spcAft>
                <a:spcPts val="0"/>
              </a:spcAft>
              <a:buClrTx/>
              <a:buSzTx/>
              <a:buFontTx/>
              <a:buNone/>
              <a:defRPr lang="en-US" sz="2000">
                <a:solidFill>
                  <a:srgbClr val="FFFFFF"/>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1126359" y="1209174"/>
            <a:ext cx="5489130" cy="4651672"/>
            <a:chOff x="804241" y="1209174"/>
            <a:chExt cx="5489130" cy="4651672"/>
          </a:xfrm>
          <a:effectLst>
            <a:outerShdw blurRad="50800" dist="38100" dir="2700000" algn="tl" rotWithShape="0">
              <a:prstClr val="black">
                <a:alpha val="40000"/>
              </a:prstClr>
            </a:outerShdw>
          </a:effectLst>
        </p:grpSpPr>
        <p:sp>
          <p:nvSpPr>
            <p:cNvPr id="113" name="Freeform 5"/>
            <p:cNvSpPr>
              <a:spLocks noEditPoints="1"/>
            </p:cNvSpPr>
            <p:nvPr/>
          </p:nvSpPr>
          <p:spPr bwMode="auto">
            <a:xfrm>
              <a:off x="804241" y="1209174"/>
              <a:ext cx="3345848" cy="4651671"/>
            </a:xfrm>
            <a:custGeom>
              <a:avLst/>
              <a:gdLst>
                <a:gd name="T0" fmla="*/ 787 w 805"/>
                <a:gd name="T1" fmla="*/ 30 h 1082"/>
                <a:gd name="T2" fmla="*/ 770 w 805"/>
                <a:gd name="T3" fmla="*/ 14 h 1082"/>
                <a:gd name="T4" fmla="*/ 769 w 805"/>
                <a:gd name="T5" fmla="*/ 13 h 1082"/>
                <a:gd name="T6" fmla="*/ 753 w 805"/>
                <a:gd name="T7" fmla="*/ 5 h 1082"/>
                <a:gd name="T8" fmla="*/ 753 w 805"/>
                <a:gd name="T9" fmla="*/ 5 h 1082"/>
                <a:gd name="T10" fmla="*/ 724 w 805"/>
                <a:gd name="T11" fmla="*/ 0 h 1082"/>
                <a:gd name="T12" fmla="*/ 3 w 805"/>
                <a:gd name="T13" fmla="*/ 0 h 1082"/>
                <a:gd name="T14" fmla="*/ 0 w 805"/>
                <a:gd name="T15" fmla="*/ 0 h 1082"/>
                <a:gd name="T16" fmla="*/ 16 w 805"/>
                <a:gd name="T17" fmla="*/ 4 h 1082"/>
                <a:gd name="T18" fmla="*/ 48 w 805"/>
                <a:gd name="T19" fmla="*/ 28 h 1082"/>
                <a:gd name="T20" fmla="*/ 67 w 805"/>
                <a:gd name="T21" fmla="*/ 81 h 1082"/>
                <a:gd name="T22" fmla="*/ 67 w 805"/>
                <a:gd name="T23" fmla="*/ 1082 h 1082"/>
                <a:gd name="T24" fmla="*/ 722 w 805"/>
                <a:gd name="T25" fmla="*/ 1082 h 1082"/>
                <a:gd name="T26" fmla="*/ 722 w 805"/>
                <a:gd name="T27" fmla="*/ 996 h 1082"/>
                <a:gd name="T28" fmla="*/ 805 w 805"/>
                <a:gd name="T29" fmla="*/ 996 h 1082"/>
                <a:gd name="T30" fmla="*/ 805 w 805"/>
                <a:gd name="T31" fmla="*/ 81 h 1082"/>
                <a:gd name="T32" fmla="*/ 787 w 805"/>
                <a:gd name="T33" fmla="*/ 30 h 1082"/>
                <a:gd name="T34" fmla="*/ 37 w 805"/>
                <a:gd name="T35" fmla="*/ 1 h 1082"/>
                <a:gd name="T36" fmla="*/ 37 w 805"/>
                <a:gd name="T37" fmla="*/ 1 h 1082"/>
                <a:gd name="T38" fmla="*/ 38 w 805"/>
                <a:gd name="T39" fmla="*/ 1 h 1082"/>
                <a:gd name="T40" fmla="*/ 37 w 805"/>
                <a:gd name="T41" fmla="*/ 1 h 1082"/>
                <a:gd name="T42" fmla="*/ 62 w 805"/>
                <a:gd name="T43" fmla="*/ 14 h 1082"/>
                <a:gd name="T44" fmla="*/ 63 w 805"/>
                <a:gd name="T45" fmla="*/ 15 h 1082"/>
                <a:gd name="T46" fmla="*/ 63 w 805"/>
                <a:gd name="T47" fmla="*/ 15 h 1082"/>
                <a:gd name="T48" fmla="*/ 62 w 805"/>
                <a:gd name="T49" fmla="*/ 1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5" h="1082">
                  <a:moveTo>
                    <a:pt x="787" y="30"/>
                  </a:moveTo>
                  <a:cubicBezTo>
                    <a:pt x="782" y="24"/>
                    <a:pt x="776" y="18"/>
                    <a:pt x="770" y="14"/>
                  </a:cubicBezTo>
                  <a:cubicBezTo>
                    <a:pt x="770" y="14"/>
                    <a:pt x="769" y="13"/>
                    <a:pt x="769" y="13"/>
                  </a:cubicBezTo>
                  <a:cubicBezTo>
                    <a:pt x="753" y="5"/>
                    <a:pt x="753" y="5"/>
                    <a:pt x="753" y="5"/>
                  </a:cubicBezTo>
                  <a:cubicBezTo>
                    <a:pt x="753" y="5"/>
                    <a:pt x="753" y="5"/>
                    <a:pt x="753" y="5"/>
                  </a:cubicBezTo>
                  <a:cubicBezTo>
                    <a:pt x="744" y="1"/>
                    <a:pt x="734" y="0"/>
                    <a:pt x="724" y="0"/>
                  </a:cubicBezTo>
                  <a:cubicBezTo>
                    <a:pt x="3" y="0"/>
                    <a:pt x="3" y="0"/>
                    <a:pt x="3" y="0"/>
                  </a:cubicBezTo>
                  <a:cubicBezTo>
                    <a:pt x="0" y="0"/>
                    <a:pt x="0" y="0"/>
                    <a:pt x="0" y="0"/>
                  </a:cubicBezTo>
                  <a:cubicBezTo>
                    <a:pt x="6" y="1"/>
                    <a:pt x="11" y="2"/>
                    <a:pt x="16" y="4"/>
                  </a:cubicBezTo>
                  <a:cubicBezTo>
                    <a:pt x="29" y="9"/>
                    <a:pt x="40" y="17"/>
                    <a:pt x="48" y="28"/>
                  </a:cubicBezTo>
                  <a:cubicBezTo>
                    <a:pt x="60" y="42"/>
                    <a:pt x="67" y="61"/>
                    <a:pt x="67" y="81"/>
                  </a:cubicBezTo>
                  <a:cubicBezTo>
                    <a:pt x="67" y="1082"/>
                    <a:pt x="67" y="1082"/>
                    <a:pt x="67" y="1082"/>
                  </a:cubicBezTo>
                  <a:cubicBezTo>
                    <a:pt x="722" y="1082"/>
                    <a:pt x="722" y="1082"/>
                    <a:pt x="722" y="1082"/>
                  </a:cubicBezTo>
                  <a:cubicBezTo>
                    <a:pt x="722" y="996"/>
                    <a:pt x="722" y="996"/>
                    <a:pt x="722" y="996"/>
                  </a:cubicBezTo>
                  <a:cubicBezTo>
                    <a:pt x="805" y="996"/>
                    <a:pt x="805" y="996"/>
                    <a:pt x="805" y="996"/>
                  </a:cubicBezTo>
                  <a:cubicBezTo>
                    <a:pt x="805" y="81"/>
                    <a:pt x="805" y="81"/>
                    <a:pt x="805" y="81"/>
                  </a:cubicBezTo>
                  <a:cubicBezTo>
                    <a:pt x="805" y="62"/>
                    <a:pt x="799" y="44"/>
                    <a:pt x="787" y="30"/>
                  </a:cubicBezTo>
                  <a:close/>
                  <a:moveTo>
                    <a:pt x="37" y="1"/>
                  </a:moveTo>
                  <a:cubicBezTo>
                    <a:pt x="37" y="1"/>
                    <a:pt x="37" y="1"/>
                    <a:pt x="37" y="1"/>
                  </a:cubicBezTo>
                  <a:cubicBezTo>
                    <a:pt x="38" y="1"/>
                    <a:pt x="38" y="1"/>
                    <a:pt x="38" y="1"/>
                  </a:cubicBezTo>
                  <a:cubicBezTo>
                    <a:pt x="38" y="1"/>
                    <a:pt x="37" y="1"/>
                    <a:pt x="37" y="1"/>
                  </a:cubicBezTo>
                  <a:close/>
                  <a:moveTo>
                    <a:pt x="62" y="14"/>
                  </a:moveTo>
                  <a:cubicBezTo>
                    <a:pt x="63" y="14"/>
                    <a:pt x="63" y="15"/>
                    <a:pt x="63" y="15"/>
                  </a:cubicBezTo>
                  <a:cubicBezTo>
                    <a:pt x="63" y="15"/>
                    <a:pt x="63" y="15"/>
                    <a:pt x="63" y="15"/>
                  </a:cubicBezTo>
                  <a:cubicBezTo>
                    <a:pt x="63" y="15"/>
                    <a:pt x="63" y="15"/>
                    <a:pt x="62" y="14"/>
                  </a:cubicBezTo>
                  <a:close/>
                </a:path>
              </a:pathLst>
            </a:custGeom>
            <a:solidFill>
              <a:schemeClr val="bg1">
                <a:lumMod val="9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dirty="0">
                <a:ln>
                  <a:noFill/>
                </a:ln>
                <a:solidFill>
                  <a:prstClr val="black"/>
                </a:solidFill>
                <a:effectLst/>
                <a:uLnTx/>
                <a:uFillTx/>
                <a:cs typeface="+mn-cs"/>
              </a:endParaRPr>
            </a:p>
          </p:txBody>
        </p:sp>
        <p:grpSp>
          <p:nvGrpSpPr>
            <p:cNvPr id="114" name="组合 113"/>
            <p:cNvGrpSpPr/>
            <p:nvPr/>
          </p:nvGrpSpPr>
          <p:grpSpPr>
            <a:xfrm>
              <a:off x="2947523" y="1209174"/>
              <a:ext cx="3345848" cy="4651672"/>
              <a:chOff x="3526643" y="1209174"/>
              <a:chExt cx="3345848" cy="4651672"/>
            </a:xfrm>
          </p:grpSpPr>
          <p:sp>
            <p:nvSpPr>
              <p:cNvPr id="115" name="Freeform 5"/>
              <p:cNvSpPr>
                <a:spLocks noEditPoints="1"/>
              </p:cNvSpPr>
              <p:nvPr/>
            </p:nvSpPr>
            <p:spPr bwMode="auto">
              <a:xfrm>
                <a:off x="3526643" y="1209174"/>
                <a:ext cx="3345848" cy="4651671"/>
              </a:xfrm>
              <a:custGeom>
                <a:avLst/>
                <a:gdLst>
                  <a:gd name="T0" fmla="*/ 787 w 805"/>
                  <a:gd name="T1" fmla="*/ 30 h 1082"/>
                  <a:gd name="T2" fmla="*/ 770 w 805"/>
                  <a:gd name="T3" fmla="*/ 14 h 1082"/>
                  <a:gd name="T4" fmla="*/ 769 w 805"/>
                  <a:gd name="T5" fmla="*/ 13 h 1082"/>
                  <a:gd name="T6" fmla="*/ 753 w 805"/>
                  <a:gd name="T7" fmla="*/ 5 h 1082"/>
                  <a:gd name="T8" fmla="*/ 753 w 805"/>
                  <a:gd name="T9" fmla="*/ 5 h 1082"/>
                  <a:gd name="T10" fmla="*/ 724 w 805"/>
                  <a:gd name="T11" fmla="*/ 0 h 1082"/>
                  <a:gd name="T12" fmla="*/ 3 w 805"/>
                  <a:gd name="T13" fmla="*/ 0 h 1082"/>
                  <a:gd name="T14" fmla="*/ 0 w 805"/>
                  <a:gd name="T15" fmla="*/ 0 h 1082"/>
                  <a:gd name="T16" fmla="*/ 16 w 805"/>
                  <a:gd name="T17" fmla="*/ 4 h 1082"/>
                  <a:gd name="T18" fmla="*/ 48 w 805"/>
                  <a:gd name="T19" fmla="*/ 28 h 1082"/>
                  <a:gd name="T20" fmla="*/ 67 w 805"/>
                  <a:gd name="T21" fmla="*/ 81 h 1082"/>
                  <a:gd name="T22" fmla="*/ 67 w 805"/>
                  <a:gd name="T23" fmla="*/ 1082 h 1082"/>
                  <a:gd name="T24" fmla="*/ 722 w 805"/>
                  <a:gd name="T25" fmla="*/ 1082 h 1082"/>
                  <a:gd name="T26" fmla="*/ 722 w 805"/>
                  <a:gd name="T27" fmla="*/ 996 h 1082"/>
                  <a:gd name="T28" fmla="*/ 805 w 805"/>
                  <a:gd name="T29" fmla="*/ 996 h 1082"/>
                  <a:gd name="T30" fmla="*/ 805 w 805"/>
                  <a:gd name="T31" fmla="*/ 81 h 1082"/>
                  <a:gd name="T32" fmla="*/ 787 w 805"/>
                  <a:gd name="T33" fmla="*/ 30 h 1082"/>
                  <a:gd name="T34" fmla="*/ 37 w 805"/>
                  <a:gd name="T35" fmla="*/ 1 h 1082"/>
                  <a:gd name="T36" fmla="*/ 37 w 805"/>
                  <a:gd name="T37" fmla="*/ 1 h 1082"/>
                  <a:gd name="T38" fmla="*/ 38 w 805"/>
                  <a:gd name="T39" fmla="*/ 1 h 1082"/>
                  <a:gd name="T40" fmla="*/ 37 w 805"/>
                  <a:gd name="T41" fmla="*/ 1 h 1082"/>
                  <a:gd name="T42" fmla="*/ 62 w 805"/>
                  <a:gd name="T43" fmla="*/ 14 h 1082"/>
                  <a:gd name="T44" fmla="*/ 63 w 805"/>
                  <a:gd name="T45" fmla="*/ 15 h 1082"/>
                  <a:gd name="T46" fmla="*/ 63 w 805"/>
                  <a:gd name="T47" fmla="*/ 15 h 1082"/>
                  <a:gd name="T48" fmla="*/ 62 w 805"/>
                  <a:gd name="T49" fmla="*/ 1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5" h="1082">
                    <a:moveTo>
                      <a:pt x="787" y="30"/>
                    </a:moveTo>
                    <a:cubicBezTo>
                      <a:pt x="782" y="24"/>
                      <a:pt x="776" y="18"/>
                      <a:pt x="770" y="14"/>
                    </a:cubicBezTo>
                    <a:cubicBezTo>
                      <a:pt x="770" y="14"/>
                      <a:pt x="769" y="13"/>
                      <a:pt x="769" y="13"/>
                    </a:cubicBezTo>
                    <a:cubicBezTo>
                      <a:pt x="753" y="5"/>
                      <a:pt x="753" y="5"/>
                      <a:pt x="753" y="5"/>
                    </a:cubicBezTo>
                    <a:cubicBezTo>
                      <a:pt x="753" y="5"/>
                      <a:pt x="753" y="5"/>
                      <a:pt x="753" y="5"/>
                    </a:cubicBezTo>
                    <a:cubicBezTo>
                      <a:pt x="744" y="1"/>
                      <a:pt x="734" y="0"/>
                      <a:pt x="724" y="0"/>
                    </a:cubicBezTo>
                    <a:cubicBezTo>
                      <a:pt x="3" y="0"/>
                      <a:pt x="3" y="0"/>
                      <a:pt x="3" y="0"/>
                    </a:cubicBezTo>
                    <a:cubicBezTo>
                      <a:pt x="0" y="0"/>
                      <a:pt x="0" y="0"/>
                      <a:pt x="0" y="0"/>
                    </a:cubicBezTo>
                    <a:cubicBezTo>
                      <a:pt x="6" y="1"/>
                      <a:pt x="11" y="2"/>
                      <a:pt x="16" y="4"/>
                    </a:cubicBezTo>
                    <a:cubicBezTo>
                      <a:pt x="29" y="9"/>
                      <a:pt x="40" y="17"/>
                      <a:pt x="48" y="28"/>
                    </a:cubicBezTo>
                    <a:cubicBezTo>
                      <a:pt x="60" y="42"/>
                      <a:pt x="67" y="61"/>
                      <a:pt x="67" y="81"/>
                    </a:cubicBezTo>
                    <a:cubicBezTo>
                      <a:pt x="67" y="1082"/>
                      <a:pt x="67" y="1082"/>
                      <a:pt x="67" y="1082"/>
                    </a:cubicBezTo>
                    <a:cubicBezTo>
                      <a:pt x="722" y="1082"/>
                      <a:pt x="722" y="1082"/>
                      <a:pt x="722" y="1082"/>
                    </a:cubicBezTo>
                    <a:cubicBezTo>
                      <a:pt x="722" y="996"/>
                      <a:pt x="722" y="996"/>
                      <a:pt x="722" y="996"/>
                    </a:cubicBezTo>
                    <a:cubicBezTo>
                      <a:pt x="805" y="996"/>
                      <a:pt x="805" y="996"/>
                      <a:pt x="805" y="996"/>
                    </a:cubicBezTo>
                    <a:cubicBezTo>
                      <a:pt x="805" y="81"/>
                      <a:pt x="805" y="81"/>
                      <a:pt x="805" y="81"/>
                    </a:cubicBezTo>
                    <a:cubicBezTo>
                      <a:pt x="805" y="62"/>
                      <a:pt x="799" y="44"/>
                      <a:pt x="787" y="30"/>
                    </a:cubicBezTo>
                    <a:close/>
                    <a:moveTo>
                      <a:pt x="37" y="1"/>
                    </a:moveTo>
                    <a:cubicBezTo>
                      <a:pt x="37" y="1"/>
                      <a:pt x="37" y="1"/>
                      <a:pt x="37" y="1"/>
                    </a:cubicBezTo>
                    <a:cubicBezTo>
                      <a:pt x="38" y="1"/>
                      <a:pt x="38" y="1"/>
                      <a:pt x="38" y="1"/>
                    </a:cubicBezTo>
                    <a:cubicBezTo>
                      <a:pt x="38" y="1"/>
                      <a:pt x="37" y="1"/>
                      <a:pt x="37" y="1"/>
                    </a:cubicBezTo>
                    <a:close/>
                    <a:moveTo>
                      <a:pt x="62" y="14"/>
                    </a:moveTo>
                    <a:cubicBezTo>
                      <a:pt x="63" y="14"/>
                      <a:pt x="63" y="15"/>
                      <a:pt x="63" y="15"/>
                    </a:cubicBezTo>
                    <a:cubicBezTo>
                      <a:pt x="63" y="15"/>
                      <a:pt x="63" y="15"/>
                      <a:pt x="63" y="15"/>
                    </a:cubicBezTo>
                    <a:cubicBezTo>
                      <a:pt x="63" y="15"/>
                      <a:pt x="63" y="15"/>
                      <a:pt x="62" y="14"/>
                    </a:cubicBezTo>
                    <a:close/>
                  </a:path>
                </a:pathLst>
              </a:custGeom>
              <a:solidFill>
                <a:schemeClr val="bg1">
                  <a:lumMod val="9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dirty="0">
                  <a:ln>
                    <a:noFill/>
                  </a:ln>
                  <a:solidFill>
                    <a:prstClr val="black"/>
                  </a:solidFill>
                  <a:effectLst/>
                  <a:uLnTx/>
                  <a:uFillTx/>
                  <a:cs typeface="+mn-cs"/>
                </a:endParaRPr>
              </a:p>
            </p:txBody>
          </p:sp>
          <p:sp>
            <p:nvSpPr>
              <p:cNvPr id="116" name="Freeform 13"/>
              <p:cNvSpPr/>
              <p:nvPr/>
            </p:nvSpPr>
            <p:spPr bwMode="auto">
              <a:xfrm>
                <a:off x="6528130" y="5491377"/>
                <a:ext cx="344361" cy="369469"/>
              </a:xfrm>
              <a:custGeom>
                <a:avLst/>
                <a:gdLst>
                  <a:gd name="T0" fmla="*/ 236 w 236"/>
                  <a:gd name="T1" fmla="*/ 0 h 244"/>
                  <a:gd name="T2" fmla="*/ 0 w 236"/>
                  <a:gd name="T3" fmla="*/ 244 h 244"/>
                  <a:gd name="T4" fmla="*/ 0 w 236"/>
                  <a:gd name="T5" fmla="*/ 0 h 244"/>
                  <a:gd name="T6" fmla="*/ 236 w 236"/>
                  <a:gd name="T7" fmla="*/ 0 h 244"/>
                </a:gdLst>
                <a:ahLst/>
                <a:cxnLst>
                  <a:cxn ang="0">
                    <a:pos x="T0" y="T1"/>
                  </a:cxn>
                  <a:cxn ang="0">
                    <a:pos x="T2" y="T3"/>
                  </a:cxn>
                  <a:cxn ang="0">
                    <a:pos x="T4" y="T5"/>
                  </a:cxn>
                  <a:cxn ang="0">
                    <a:pos x="T6" y="T7"/>
                  </a:cxn>
                </a:cxnLst>
                <a:rect l="0" t="0" r="r" b="b"/>
                <a:pathLst>
                  <a:path w="236" h="244">
                    <a:moveTo>
                      <a:pt x="236" y="0"/>
                    </a:moveTo>
                    <a:lnTo>
                      <a:pt x="0" y="244"/>
                    </a:lnTo>
                    <a:lnTo>
                      <a:pt x="0" y="0"/>
                    </a:lnTo>
                    <a:lnTo>
                      <a:pt x="236" y="0"/>
                    </a:lnTo>
                    <a:close/>
                  </a:path>
                </a:pathLst>
              </a:custGeom>
              <a:solidFill>
                <a:schemeClr val="bg1">
                  <a:lumMod val="8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1" i="0" u="none" strike="noStrike" kern="1200" cap="none" spc="0" normalizeH="0" noProof="0">
                  <a:ln>
                    <a:noFill/>
                  </a:ln>
                  <a:solidFill>
                    <a:prstClr val="black"/>
                  </a:solidFill>
                  <a:effectLst/>
                  <a:uLnTx/>
                  <a:uFillTx/>
                  <a:cs typeface="+mn-cs"/>
                </a:endParaRPr>
              </a:p>
            </p:txBody>
          </p:sp>
        </p:grpSp>
      </p:grpSp>
      <p:sp>
        <p:nvSpPr>
          <p:cNvPr id="117" name="Freeform 14"/>
          <p:cNvSpPr/>
          <p:nvPr userDrawn="1"/>
        </p:nvSpPr>
        <p:spPr bwMode="auto">
          <a:xfrm>
            <a:off x="847660" y="1209174"/>
            <a:ext cx="557398" cy="902473"/>
          </a:xfrm>
          <a:custGeom>
            <a:avLst/>
            <a:gdLst>
              <a:gd name="T0" fmla="*/ 134 w 134"/>
              <a:gd name="T1" fmla="*/ 81 h 210"/>
              <a:gd name="T2" fmla="*/ 134 w 134"/>
              <a:gd name="T3" fmla="*/ 210 h 210"/>
              <a:gd name="T4" fmla="*/ 85 w 134"/>
              <a:gd name="T5" fmla="*/ 210 h 210"/>
              <a:gd name="T6" fmla="*/ 83 w 134"/>
              <a:gd name="T7" fmla="*/ 210 h 210"/>
              <a:gd name="T8" fmla="*/ 0 w 134"/>
              <a:gd name="T9" fmla="*/ 104 h 210"/>
              <a:gd name="T10" fmla="*/ 2 w 134"/>
              <a:gd name="T11" fmla="*/ 81 h 210"/>
              <a:gd name="T12" fmla="*/ 30 w 134"/>
              <a:gd name="T13" fmla="*/ 23 h 210"/>
              <a:gd name="T14" fmla="*/ 67 w 134"/>
              <a:gd name="T15" fmla="*/ 0 h 210"/>
              <a:gd name="T16" fmla="*/ 83 w 134"/>
              <a:gd name="T17" fmla="*/ 4 h 210"/>
              <a:gd name="T18" fmla="*/ 115 w 134"/>
              <a:gd name="T19" fmla="*/ 28 h 210"/>
              <a:gd name="T20" fmla="*/ 134 w 134"/>
              <a:gd name="T21" fmla="*/ 8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210">
                <a:moveTo>
                  <a:pt x="134" y="81"/>
                </a:moveTo>
                <a:cubicBezTo>
                  <a:pt x="134" y="210"/>
                  <a:pt x="134" y="210"/>
                  <a:pt x="134" y="210"/>
                </a:cubicBezTo>
                <a:cubicBezTo>
                  <a:pt x="85" y="210"/>
                  <a:pt x="85" y="210"/>
                  <a:pt x="85" y="210"/>
                </a:cubicBezTo>
                <a:cubicBezTo>
                  <a:pt x="84" y="210"/>
                  <a:pt x="84" y="210"/>
                  <a:pt x="83" y="210"/>
                </a:cubicBezTo>
                <a:cubicBezTo>
                  <a:pt x="37" y="209"/>
                  <a:pt x="0" y="162"/>
                  <a:pt x="0" y="104"/>
                </a:cubicBezTo>
                <a:cubicBezTo>
                  <a:pt x="0" y="96"/>
                  <a:pt x="1" y="88"/>
                  <a:pt x="2" y="81"/>
                </a:cubicBezTo>
                <a:cubicBezTo>
                  <a:pt x="6" y="58"/>
                  <a:pt x="16" y="37"/>
                  <a:pt x="30" y="23"/>
                </a:cubicBezTo>
                <a:cubicBezTo>
                  <a:pt x="41" y="12"/>
                  <a:pt x="54" y="4"/>
                  <a:pt x="67" y="0"/>
                </a:cubicBezTo>
                <a:cubicBezTo>
                  <a:pt x="73" y="1"/>
                  <a:pt x="78" y="2"/>
                  <a:pt x="83" y="4"/>
                </a:cubicBezTo>
                <a:cubicBezTo>
                  <a:pt x="96" y="9"/>
                  <a:pt x="107" y="17"/>
                  <a:pt x="115" y="28"/>
                </a:cubicBezTo>
                <a:cubicBezTo>
                  <a:pt x="127" y="42"/>
                  <a:pt x="134" y="61"/>
                  <a:pt x="134" y="81"/>
                </a:cubicBezTo>
                <a:close/>
              </a:path>
            </a:pathLst>
          </a:custGeom>
          <a:solidFill>
            <a:schemeClr val="bg1">
              <a:lumMod val="8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black"/>
              </a:solidFill>
              <a:effectLst/>
              <a:uLnTx/>
              <a:uFillTx/>
              <a:cs typeface="+mn-cs"/>
            </a:endParaRPr>
          </a:p>
        </p:txBody>
      </p:sp>
      <p:grpSp>
        <p:nvGrpSpPr>
          <p:cNvPr id="118" name="组合 117"/>
          <p:cNvGrpSpPr/>
          <p:nvPr userDrawn="1"/>
        </p:nvGrpSpPr>
        <p:grpSpPr>
          <a:xfrm>
            <a:off x="838056" y="2221950"/>
            <a:ext cx="1219231" cy="4033622"/>
            <a:chOff x="2617114" y="2629161"/>
            <a:chExt cx="1326471" cy="4228839"/>
          </a:xfrm>
        </p:grpSpPr>
        <p:sp>
          <p:nvSpPr>
            <p:cNvPr id="119" name="iśḻîḍé"/>
            <p:cNvSpPr/>
            <p:nvPr/>
          </p:nvSpPr>
          <p:spPr bwMode="auto">
            <a:xfrm flipH="1">
              <a:off x="2617114" y="2629161"/>
              <a:ext cx="1326471" cy="3113789"/>
            </a:xfrm>
            <a:custGeom>
              <a:avLst/>
              <a:gdLst>
                <a:gd name="T0" fmla="*/ 485 w 653"/>
                <a:gd name="T1" fmla="*/ 235 h 1443"/>
                <a:gd name="T2" fmla="*/ 346 w 653"/>
                <a:gd name="T3" fmla="*/ 20 h 1443"/>
                <a:gd name="T4" fmla="*/ 342 w 653"/>
                <a:gd name="T5" fmla="*/ 590 h 1443"/>
                <a:gd name="T6" fmla="*/ 188 w 653"/>
                <a:gd name="T7" fmla="*/ 190 h 1443"/>
                <a:gd name="T8" fmla="*/ 86 w 653"/>
                <a:gd name="T9" fmla="*/ 7 h 1443"/>
                <a:gd name="T10" fmla="*/ 22 w 653"/>
                <a:gd name="T11" fmla="*/ 191 h 1443"/>
                <a:gd name="T12" fmla="*/ 107 w 653"/>
                <a:gd name="T13" fmla="*/ 538 h 1443"/>
                <a:gd name="T14" fmla="*/ 132 w 653"/>
                <a:gd name="T15" fmla="*/ 1010 h 1443"/>
                <a:gd name="T16" fmla="*/ 60 w 653"/>
                <a:gd name="T17" fmla="*/ 1009 h 1443"/>
                <a:gd name="T18" fmla="*/ 113 w 653"/>
                <a:gd name="T19" fmla="*/ 1152 h 1443"/>
                <a:gd name="T20" fmla="*/ 137 w 653"/>
                <a:gd name="T21" fmla="*/ 1433 h 1443"/>
                <a:gd name="T22" fmla="*/ 563 w 653"/>
                <a:gd name="T23" fmla="*/ 1443 h 1443"/>
                <a:gd name="T24" fmla="*/ 622 w 653"/>
                <a:gd name="T25" fmla="*/ 644 h 1443"/>
                <a:gd name="T26" fmla="*/ 485 w 653"/>
                <a:gd name="T27" fmla="*/ 235 h 1443"/>
                <a:gd name="connsiteX0" fmla="*/ 7215 w 9385"/>
                <a:gd name="connsiteY0" fmla="*/ 1583 h 9954"/>
                <a:gd name="connsiteX1" fmla="*/ 5087 w 9385"/>
                <a:gd name="connsiteY1" fmla="*/ 93 h 9954"/>
                <a:gd name="connsiteX2" fmla="*/ 5025 w 9385"/>
                <a:gd name="connsiteY2" fmla="*/ 4043 h 9954"/>
                <a:gd name="connsiteX3" fmla="*/ 2667 w 9385"/>
                <a:gd name="connsiteY3" fmla="*/ 1271 h 9954"/>
                <a:gd name="connsiteX4" fmla="*/ 1105 w 9385"/>
                <a:gd name="connsiteY4" fmla="*/ 3 h 9954"/>
                <a:gd name="connsiteX5" fmla="*/ 125 w 9385"/>
                <a:gd name="connsiteY5" fmla="*/ 1278 h 9954"/>
                <a:gd name="connsiteX6" fmla="*/ 1427 w 9385"/>
                <a:gd name="connsiteY6" fmla="*/ 3682 h 9954"/>
                <a:gd name="connsiteX7" fmla="*/ 1809 w 9385"/>
                <a:gd name="connsiteY7" fmla="*/ 6953 h 9954"/>
                <a:gd name="connsiteX8" fmla="*/ 1518 w 9385"/>
                <a:gd name="connsiteY8" fmla="*/ 7937 h 9954"/>
                <a:gd name="connsiteX9" fmla="*/ 1886 w 9385"/>
                <a:gd name="connsiteY9" fmla="*/ 9885 h 9954"/>
                <a:gd name="connsiteX10" fmla="*/ 8410 w 9385"/>
                <a:gd name="connsiteY10" fmla="*/ 9954 h 9954"/>
                <a:gd name="connsiteX11" fmla="*/ 9313 w 9385"/>
                <a:gd name="connsiteY11" fmla="*/ 4417 h 9954"/>
                <a:gd name="connsiteX12" fmla="*/ 7215 w 9385"/>
                <a:gd name="connsiteY12" fmla="*/ 1583 h 9954"/>
                <a:gd name="connsiteX0-1" fmla="*/ 7688 w 9999"/>
                <a:gd name="connsiteY0-2" fmla="*/ 1590 h 10000"/>
                <a:gd name="connsiteX1-3" fmla="*/ 5420 w 9999"/>
                <a:gd name="connsiteY1-4" fmla="*/ 93 h 10000"/>
                <a:gd name="connsiteX2-5" fmla="*/ 5354 w 9999"/>
                <a:gd name="connsiteY2-6" fmla="*/ 4062 h 10000"/>
                <a:gd name="connsiteX3-7" fmla="*/ 2842 w 9999"/>
                <a:gd name="connsiteY3-8" fmla="*/ 1277 h 10000"/>
                <a:gd name="connsiteX4-9" fmla="*/ 1177 w 9999"/>
                <a:gd name="connsiteY4-10" fmla="*/ 3 h 10000"/>
                <a:gd name="connsiteX5-11" fmla="*/ 133 w 9999"/>
                <a:gd name="connsiteY5-12" fmla="*/ 1284 h 10000"/>
                <a:gd name="connsiteX6-13" fmla="*/ 1521 w 9999"/>
                <a:gd name="connsiteY6-14" fmla="*/ 3699 h 10000"/>
                <a:gd name="connsiteX7-15" fmla="*/ 1928 w 9999"/>
                <a:gd name="connsiteY7-16" fmla="*/ 6985 h 10000"/>
                <a:gd name="connsiteX8-17" fmla="*/ 2010 w 9999"/>
                <a:gd name="connsiteY8-18" fmla="*/ 9931 h 10000"/>
                <a:gd name="connsiteX9-19" fmla="*/ 8961 w 9999"/>
                <a:gd name="connsiteY9-20" fmla="*/ 10000 h 10000"/>
                <a:gd name="connsiteX10-21" fmla="*/ 9923 w 9999"/>
                <a:gd name="connsiteY10-22" fmla="*/ 4437 h 10000"/>
                <a:gd name="connsiteX11-23" fmla="*/ 7688 w 9999"/>
                <a:gd name="connsiteY11-24" fmla="*/ 1590 h 10000"/>
                <a:gd name="connsiteX0-25" fmla="*/ 7683 w 9994"/>
                <a:gd name="connsiteY0-26" fmla="*/ 1497 h 9907"/>
                <a:gd name="connsiteX1-27" fmla="*/ 5415 w 9994"/>
                <a:gd name="connsiteY1-28" fmla="*/ 0 h 9907"/>
                <a:gd name="connsiteX2-29" fmla="*/ 5349 w 9994"/>
                <a:gd name="connsiteY2-30" fmla="*/ 3969 h 9907"/>
                <a:gd name="connsiteX3-31" fmla="*/ 2836 w 9994"/>
                <a:gd name="connsiteY3-32" fmla="*/ 1184 h 9907"/>
                <a:gd name="connsiteX4-33" fmla="*/ 1216 w 9994"/>
                <a:gd name="connsiteY4-34" fmla="*/ 240 h 9907"/>
                <a:gd name="connsiteX5-35" fmla="*/ 127 w 9994"/>
                <a:gd name="connsiteY5-36" fmla="*/ 1191 h 9907"/>
                <a:gd name="connsiteX6-37" fmla="*/ 1515 w 9994"/>
                <a:gd name="connsiteY6-38" fmla="*/ 3606 h 9907"/>
                <a:gd name="connsiteX7-39" fmla="*/ 1922 w 9994"/>
                <a:gd name="connsiteY7-40" fmla="*/ 6892 h 9907"/>
                <a:gd name="connsiteX8-41" fmla="*/ 2004 w 9994"/>
                <a:gd name="connsiteY8-42" fmla="*/ 9838 h 9907"/>
                <a:gd name="connsiteX9-43" fmla="*/ 8956 w 9994"/>
                <a:gd name="connsiteY9-44" fmla="*/ 9907 h 9907"/>
                <a:gd name="connsiteX10-45" fmla="*/ 9918 w 9994"/>
                <a:gd name="connsiteY10-46" fmla="*/ 4344 h 9907"/>
                <a:gd name="connsiteX11-47" fmla="*/ 7683 w 9994"/>
                <a:gd name="connsiteY11-48" fmla="*/ 1497 h 9907"/>
                <a:gd name="connsiteX0-49" fmla="*/ 7641 w 9953"/>
                <a:gd name="connsiteY0-50" fmla="*/ 1511 h 10000"/>
                <a:gd name="connsiteX1-51" fmla="*/ 5371 w 9953"/>
                <a:gd name="connsiteY1-52" fmla="*/ 0 h 10000"/>
                <a:gd name="connsiteX2-53" fmla="*/ 5305 w 9953"/>
                <a:gd name="connsiteY2-54" fmla="*/ 4006 h 10000"/>
                <a:gd name="connsiteX3-55" fmla="*/ 3155 w 9953"/>
                <a:gd name="connsiteY3-56" fmla="*/ 1704 h 10000"/>
                <a:gd name="connsiteX4-57" fmla="*/ 1170 w 9953"/>
                <a:gd name="connsiteY4-58" fmla="*/ 242 h 10000"/>
                <a:gd name="connsiteX5-59" fmla="*/ 80 w 9953"/>
                <a:gd name="connsiteY5-60" fmla="*/ 1202 h 10000"/>
                <a:gd name="connsiteX6-61" fmla="*/ 1469 w 9953"/>
                <a:gd name="connsiteY6-62" fmla="*/ 3640 h 10000"/>
                <a:gd name="connsiteX7-63" fmla="*/ 1876 w 9953"/>
                <a:gd name="connsiteY7-64" fmla="*/ 6957 h 10000"/>
                <a:gd name="connsiteX8-65" fmla="*/ 1958 w 9953"/>
                <a:gd name="connsiteY8-66" fmla="*/ 9930 h 10000"/>
                <a:gd name="connsiteX9-67" fmla="*/ 8914 w 9953"/>
                <a:gd name="connsiteY9-68" fmla="*/ 10000 h 10000"/>
                <a:gd name="connsiteX10-69" fmla="*/ 9877 w 9953"/>
                <a:gd name="connsiteY10-70" fmla="*/ 4385 h 10000"/>
                <a:gd name="connsiteX11-71" fmla="*/ 7641 w 9953"/>
                <a:gd name="connsiteY11-72" fmla="*/ 1511 h 10000"/>
                <a:gd name="connsiteX0-73" fmla="*/ 7506 w 9830"/>
                <a:gd name="connsiteY0-74" fmla="*/ 1511 h 10000"/>
                <a:gd name="connsiteX1-75" fmla="*/ 5225 w 9830"/>
                <a:gd name="connsiteY1-76" fmla="*/ 0 h 10000"/>
                <a:gd name="connsiteX2-77" fmla="*/ 5159 w 9830"/>
                <a:gd name="connsiteY2-78" fmla="*/ 4006 h 10000"/>
                <a:gd name="connsiteX3-79" fmla="*/ 2999 w 9830"/>
                <a:gd name="connsiteY3-80" fmla="*/ 1704 h 10000"/>
                <a:gd name="connsiteX4-81" fmla="*/ 1005 w 9830"/>
                <a:gd name="connsiteY4-82" fmla="*/ 242 h 10000"/>
                <a:gd name="connsiteX5-83" fmla="*/ 92 w 9830"/>
                <a:gd name="connsiteY5-84" fmla="*/ 2005 h 10000"/>
                <a:gd name="connsiteX6-85" fmla="*/ 1305 w 9830"/>
                <a:gd name="connsiteY6-86" fmla="*/ 3640 h 10000"/>
                <a:gd name="connsiteX7-87" fmla="*/ 1714 w 9830"/>
                <a:gd name="connsiteY7-88" fmla="*/ 6957 h 10000"/>
                <a:gd name="connsiteX8-89" fmla="*/ 1796 w 9830"/>
                <a:gd name="connsiteY8-90" fmla="*/ 9930 h 10000"/>
                <a:gd name="connsiteX9-91" fmla="*/ 8785 w 9830"/>
                <a:gd name="connsiteY9-92" fmla="*/ 10000 h 10000"/>
                <a:gd name="connsiteX10-93" fmla="*/ 9753 w 9830"/>
                <a:gd name="connsiteY10-94" fmla="*/ 4385 h 10000"/>
                <a:gd name="connsiteX11-95" fmla="*/ 7506 w 9830"/>
                <a:gd name="connsiteY11-96" fmla="*/ 1511 h 10000"/>
                <a:gd name="connsiteX0-97" fmla="*/ 7629 w 9993"/>
                <a:gd name="connsiteY0-98" fmla="*/ 1511 h 10000"/>
                <a:gd name="connsiteX1-99" fmla="*/ 5308 w 9993"/>
                <a:gd name="connsiteY1-100" fmla="*/ 0 h 10000"/>
                <a:gd name="connsiteX2-101" fmla="*/ 5241 w 9993"/>
                <a:gd name="connsiteY2-102" fmla="*/ 4006 h 10000"/>
                <a:gd name="connsiteX3-103" fmla="*/ 3044 w 9993"/>
                <a:gd name="connsiteY3-104" fmla="*/ 1704 h 10000"/>
                <a:gd name="connsiteX4-105" fmla="*/ 1108 w 9993"/>
                <a:gd name="connsiteY4-106" fmla="*/ 908 h 10000"/>
                <a:gd name="connsiteX5-107" fmla="*/ 87 w 9993"/>
                <a:gd name="connsiteY5-108" fmla="*/ 2005 h 10000"/>
                <a:gd name="connsiteX6-109" fmla="*/ 1321 w 9993"/>
                <a:gd name="connsiteY6-110" fmla="*/ 3640 h 10000"/>
                <a:gd name="connsiteX7-111" fmla="*/ 1737 w 9993"/>
                <a:gd name="connsiteY7-112" fmla="*/ 6957 h 10000"/>
                <a:gd name="connsiteX8-113" fmla="*/ 1820 w 9993"/>
                <a:gd name="connsiteY8-114" fmla="*/ 9930 h 10000"/>
                <a:gd name="connsiteX9-115" fmla="*/ 8930 w 9993"/>
                <a:gd name="connsiteY9-116" fmla="*/ 10000 h 10000"/>
                <a:gd name="connsiteX10-117" fmla="*/ 9915 w 9993"/>
                <a:gd name="connsiteY10-118" fmla="*/ 4385 h 10000"/>
                <a:gd name="connsiteX11-119" fmla="*/ 7629 w 9993"/>
                <a:gd name="connsiteY11-120" fmla="*/ 1511 h 10000"/>
                <a:gd name="connsiteX0-121" fmla="*/ 7671 w 10037"/>
                <a:gd name="connsiteY0-122" fmla="*/ 1511 h 10000"/>
                <a:gd name="connsiteX1-123" fmla="*/ 5349 w 10037"/>
                <a:gd name="connsiteY1-124" fmla="*/ 0 h 10000"/>
                <a:gd name="connsiteX2-125" fmla="*/ 5282 w 10037"/>
                <a:gd name="connsiteY2-126" fmla="*/ 4006 h 10000"/>
                <a:gd name="connsiteX3-127" fmla="*/ 3083 w 10037"/>
                <a:gd name="connsiteY3-128" fmla="*/ 1704 h 10000"/>
                <a:gd name="connsiteX4-129" fmla="*/ 1146 w 10037"/>
                <a:gd name="connsiteY4-130" fmla="*/ 908 h 10000"/>
                <a:gd name="connsiteX5-131" fmla="*/ 124 w 10037"/>
                <a:gd name="connsiteY5-132" fmla="*/ 2005 h 10000"/>
                <a:gd name="connsiteX6-133" fmla="*/ 1359 w 10037"/>
                <a:gd name="connsiteY6-134" fmla="*/ 3640 h 10000"/>
                <a:gd name="connsiteX7-135" fmla="*/ 1775 w 10037"/>
                <a:gd name="connsiteY7-136" fmla="*/ 6957 h 10000"/>
                <a:gd name="connsiteX8-137" fmla="*/ 1858 w 10037"/>
                <a:gd name="connsiteY8-138" fmla="*/ 9930 h 10000"/>
                <a:gd name="connsiteX9-139" fmla="*/ 8973 w 10037"/>
                <a:gd name="connsiteY9-140" fmla="*/ 10000 h 10000"/>
                <a:gd name="connsiteX10-141" fmla="*/ 9959 w 10037"/>
                <a:gd name="connsiteY10-142" fmla="*/ 4385 h 10000"/>
                <a:gd name="connsiteX11-143" fmla="*/ 7671 w 10037"/>
                <a:gd name="connsiteY11-144" fmla="*/ 1511 h 10000"/>
                <a:gd name="connsiteX0-145" fmla="*/ 7636 w 10002"/>
                <a:gd name="connsiteY0-146" fmla="*/ 1511 h 10000"/>
                <a:gd name="connsiteX1-147" fmla="*/ 5314 w 10002"/>
                <a:gd name="connsiteY1-148" fmla="*/ 0 h 10000"/>
                <a:gd name="connsiteX2-149" fmla="*/ 5247 w 10002"/>
                <a:gd name="connsiteY2-150" fmla="*/ 4006 h 10000"/>
                <a:gd name="connsiteX3-151" fmla="*/ 3234 w 10002"/>
                <a:gd name="connsiteY3-152" fmla="*/ 1802 h 10000"/>
                <a:gd name="connsiteX4-153" fmla="*/ 1111 w 10002"/>
                <a:gd name="connsiteY4-154" fmla="*/ 908 h 10000"/>
                <a:gd name="connsiteX5-155" fmla="*/ 89 w 10002"/>
                <a:gd name="connsiteY5-156" fmla="*/ 2005 h 10000"/>
                <a:gd name="connsiteX6-157" fmla="*/ 1324 w 10002"/>
                <a:gd name="connsiteY6-158" fmla="*/ 3640 h 10000"/>
                <a:gd name="connsiteX7-159" fmla="*/ 1740 w 10002"/>
                <a:gd name="connsiteY7-160" fmla="*/ 6957 h 10000"/>
                <a:gd name="connsiteX8-161" fmla="*/ 1823 w 10002"/>
                <a:gd name="connsiteY8-162" fmla="*/ 9930 h 10000"/>
                <a:gd name="connsiteX9-163" fmla="*/ 8938 w 10002"/>
                <a:gd name="connsiteY9-164" fmla="*/ 10000 h 10000"/>
                <a:gd name="connsiteX10-165" fmla="*/ 9924 w 10002"/>
                <a:gd name="connsiteY10-166" fmla="*/ 4385 h 10000"/>
                <a:gd name="connsiteX11-167" fmla="*/ 7636 w 10002"/>
                <a:gd name="connsiteY11-168" fmla="*/ 1511 h 10000"/>
                <a:gd name="connsiteX0-169" fmla="*/ 7737 w 10103"/>
                <a:gd name="connsiteY0-170" fmla="*/ 1511 h 10000"/>
                <a:gd name="connsiteX1-171" fmla="*/ 5415 w 10103"/>
                <a:gd name="connsiteY1-172" fmla="*/ 0 h 10000"/>
                <a:gd name="connsiteX2-173" fmla="*/ 5348 w 10103"/>
                <a:gd name="connsiteY2-174" fmla="*/ 4006 h 10000"/>
                <a:gd name="connsiteX3-175" fmla="*/ 3335 w 10103"/>
                <a:gd name="connsiteY3-176" fmla="*/ 1802 h 10000"/>
                <a:gd name="connsiteX4-177" fmla="*/ 1212 w 10103"/>
                <a:gd name="connsiteY4-178" fmla="*/ 908 h 10000"/>
                <a:gd name="connsiteX5-179" fmla="*/ 190 w 10103"/>
                <a:gd name="connsiteY5-180" fmla="*/ 2005 h 10000"/>
                <a:gd name="connsiteX6-181" fmla="*/ 1425 w 10103"/>
                <a:gd name="connsiteY6-182" fmla="*/ 3640 h 10000"/>
                <a:gd name="connsiteX7-183" fmla="*/ 1841 w 10103"/>
                <a:gd name="connsiteY7-184" fmla="*/ 6957 h 10000"/>
                <a:gd name="connsiteX8-185" fmla="*/ 1924 w 10103"/>
                <a:gd name="connsiteY8-186" fmla="*/ 9930 h 10000"/>
                <a:gd name="connsiteX9-187" fmla="*/ 9039 w 10103"/>
                <a:gd name="connsiteY9-188" fmla="*/ 10000 h 10000"/>
                <a:gd name="connsiteX10-189" fmla="*/ 10025 w 10103"/>
                <a:gd name="connsiteY10-190" fmla="*/ 4385 h 10000"/>
                <a:gd name="connsiteX11-191" fmla="*/ 7737 w 10103"/>
                <a:gd name="connsiteY11-192" fmla="*/ 1511 h 10000"/>
                <a:gd name="connsiteX0-193" fmla="*/ 7737 w 10122"/>
                <a:gd name="connsiteY0-194" fmla="*/ 1511 h 10000"/>
                <a:gd name="connsiteX1-195" fmla="*/ 5415 w 10122"/>
                <a:gd name="connsiteY1-196" fmla="*/ 0 h 10000"/>
                <a:gd name="connsiteX2-197" fmla="*/ 5348 w 10122"/>
                <a:gd name="connsiteY2-198" fmla="*/ 4006 h 10000"/>
                <a:gd name="connsiteX3-199" fmla="*/ 3335 w 10122"/>
                <a:gd name="connsiteY3-200" fmla="*/ 1802 h 10000"/>
                <a:gd name="connsiteX4-201" fmla="*/ 1212 w 10122"/>
                <a:gd name="connsiteY4-202" fmla="*/ 908 h 10000"/>
                <a:gd name="connsiteX5-203" fmla="*/ 190 w 10122"/>
                <a:gd name="connsiteY5-204" fmla="*/ 2005 h 10000"/>
                <a:gd name="connsiteX6-205" fmla="*/ 1425 w 10122"/>
                <a:gd name="connsiteY6-206" fmla="*/ 3640 h 10000"/>
                <a:gd name="connsiteX7-207" fmla="*/ 1841 w 10122"/>
                <a:gd name="connsiteY7-208" fmla="*/ 6957 h 10000"/>
                <a:gd name="connsiteX8-209" fmla="*/ 1924 w 10122"/>
                <a:gd name="connsiteY8-210" fmla="*/ 9930 h 10000"/>
                <a:gd name="connsiteX9-211" fmla="*/ 9039 w 10122"/>
                <a:gd name="connsiteY9-212" fmla="*/ 10000 h 10000"/>
                <a:gd name="connsiteX10-213" fmla="*/ 10025 w 10122"/>
                <a:gd name="connsiteY10-214" fmla="*/ 4385 h 10000"/>
                <a:gd name="connsiteX11-215" fmla="*/ 8248 w 10122"/>
                <a:gd name="connsiteY11-216" fmla="*/ 1394 h 10000"/>
                <a:gd name="connsiteX0-217" fmla="*/ 5415 w 10122"/>
                <a:gd name="connsiteY0-218" fmla="*/ 0 h 10000"/>
                <a:gd name="connsiteX1-219" fmla="*/ 5348 w 10122"/>
                <a:gd name="connsiteY1-220" fmla="*/ 4006 h 10000"/>
                <a:gd name="connsiteX2-221" fmla="*/ 3335 w 10122"/>
                <a:gd name="connsiteY2-222" fmla="*/ 1802 h 10000"/>
                <a:gd name="connsiteX3-223" fmla="*/ 1212 w 10122"/>
                <a:gd name="connsiteY3-224" fmla="*/ 908 h 10000"/>
                <a:gd name="connsiteX4-225" fmla="*/ 190 w 10122"/>
                <a:gd name="connsiteY4-226" fmla="*/ 2005 h 10000"/>
                <a:gd name="connsiteX5-227" fmla="*/ 1425 w 10122"/>
                <a:gd name="connsiteY5-228" fmla="*/ 3640 h 10000"/>
                <a:gd name="connsiteX6-229" fmla="*/ 1841 w 10122"/>
                <a:gd name="connsiteY6-230" fmla="*/ 6957 h 10000"/>
                <a:gd name="connsiteX7-231" fmla="*/ 1924 w 10122"/>
                <a:gd name="connsiteY7-232" fmla="*/ 9930 h 10000"/>
                <a:gd name="connsiteX8-233" fmla="*/ 9039 w 10122"/>
                <a:gd name="connsiteY8-234" fmla="*/ 10000 h 10000"/>
                <a:gd name="connsiteX9-235" fmla="*/ 10025 w 10122"/>
                <a:gd name="connsiteY9-236" fmla="*/ 4385 h 10000"/>
                <a:gd name="connsiteX10-237" fmla="*/ 8248 w 10122"/>
                <a:gd name="connsiteY10-238" fmla="*/ 1394 h 10000"/>
                <a:gd name="connsiteX0-239" fmla="*/ 5415 w 10118"/>
                <a:gd name="connsiteY0-240" fmla="*/ 0 h 10000"/>
                <a:gd name="connsiteX1-241" fmla="*/ 5348 w 10118"/>
                <a:gd name="connsiteY1-242" fmla="*/ 4006 h 10000"/>
                <a:gd name="connsiteX2-243" fmla="*/ 3335 w 10118"/>
                <a:gd name="connsiteY2-244" fmla="*/ 1802 h 10000"/>
                <a:gd name="connsiteX3-245" fmla="*/ 1212 w 10118"/>
                <a:gd name="connsiteY3-246" fmla="*/ 908 h 10000"/>
                <a:gd name="connsiteX4-247" fmla="*/ 190 w 10118"/>
                <a:gd name="connsiteY4-248" fmla="*/ 2005 h 10000"/>
                <a:gd name="connsiteX5-249" fmla="*/ 1425 w 10118"/>
                <a:gd name="connsiteY5-250" fmla="*/ 3640 h 10000"/>
                <a:gd name="connsiteX6-251" fmla="*/ 1841 w 10118"/>
                <a:gd name="connsiteY6-252" fmla="*/ 6957 h 10000"/>
                <a:gd name="connsiteX7-253" fmla="*/ 1924 w 10118"/>
                <a:gd name="connsiteY7-254" fmla="*/ 9930 h 10000"/>
                <a:gd name="connsiteX8-255" fmla="*/ 9039 w 10118"/>
                <a:gd name="connsiteY8-256" fmla="*/ 10000 h 10000"/>
                <a:gd name="connsiteX9-257" fmla="*/ 10025 w 10118"/>
                <a:gd name="connsiteY9-258" fmla="*/ 4385 h 10000"/>
                <a:gd name="connsiteX10-259" fmla="*/ 8155 w 10118"/>
                <a:gd name="connsiteY10-260" fmla="*/ 1374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10118" h="10000">
                  <a:moveTo>
                    <a:pt x="5415" y="0"/>
                  </a:moveTo>
                  <a:cubicBezTo>
                    <a:pt x="5393" y="1335"/>
                    <a:pt x="5695" y="3706"/>
                    <a:pt x="5348" y="4006"/>
                  </a:cubicBezTo>
                  <a:cubicBezTo>
                    <a:pt x="5001" y="4306"/>
                    <a:pt x="3469" y="2111"/>
                    <a:pt x="3335" y="1802"/>
                  </a:cubicBezTo>
                  <a:cubicBezTo>
                    <a:pt x="3218" y="1492"/>
                    <a:pt x="2526" y="796"/>
                    <a:pt x="1212" y="908"/>
                  </a:cubicBezTo>
                  <a:cubicBezTo>
                    <a:pt x="-102" y="1020"/>
                    <a:pt x="-177" y="1470"/>
                    <a:pt x="190" y="2005"/>
                  </a:cubicBezTo>
                  <a:cubicBezTo>
                    <a:pt x="875" y="3045"/>
                    <a:pt x="1323" y="2838"/>
                    <a:pt x="1425" y="3640"/>
                  </a:cubicBezTo>
                  <a:cubicBezTo>
                    <a:pt x="1541" y="4371"/>
                    <a:pt x="-146" y="4906"/>
                    <a:pt x="1841" y="6957"/>
                  </a:cubicBezTo>
                  <a:cubicBezTo>
                    <a:pt x="1868" y="7948"/>
                    <a:pt x="1897" y="8939"/>
                    <a:pt x="1924" y="9930"/>
                  </a:cubicBezTo>
                  <a:lnTo>
                    <a:pt x="9039" y="10000"/>
                  </a:lnTo>
                  <a:cubicBezTo>
                    <a:pt x="9121" y="8748"/>
                    <a:pt x="9608" y="5418"/>
                    <a:pt x="10025" y="4385"/>
                  </a:cubicBezTo>
                  <a:cubicBezTo>
                    <a:pt x="10541" y="3071"/>
                    <a:pt x="8773" y="1943"/>
                    <a:pt x="8155" y="1374"/>
                  </a:cubicBezTo>
                </a:path>
              </a:pathLst>
            </a:custGeom>
            <a:solidFill>
              <a:srgbClr val="FAD6A6"/>
            </a:solidFill>
            <a:ln>
              <a:noFill/>
            </a:ln>
            <a:effectLst>
              <a:innerShdw dist="114300" dir="12000000">
                <a:prstClr val="black">
                  <a:alpha val="9000"/>
                </a:prstClr>
              </a:innerShdw>
            </a:effectLst>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思源黑体 CN Medium"/>
                <a:cs typeface="+mn-cs"/>
              </a:endParaRPr>
            </a:p>
          </p:txBody>
        </p:sp>
        <p:sp>
          <p:nvSpPr>
            <p:cNvPr id="120" name="îṧļiďé"/>
            <p:cNvSpPr/>
            <p:nvPr/>
          </p:nvSpPr>
          <p:spPr bwMode="auto">
            <a:xfrm flipH="1">
              <a:off x="2713800" y="5721667"/>
              <a:ext cx="1032773" cy="253566"/>
            </a:xfrm>
            <a:custGeom>
              <a:avLst/>
              <a:gdLst>
                <a:gd name="T0" fmla="*/ 24 w 1116"/>
                <a:gd name="T1" fmla="*/ 0 h 274"/>
                <a:gd name="T2" fmla="*/ 0 w 1116"/>
                <a:gd name="T3" fmla="*/ 232 h 274"/>
                <a:gd name="T4" fmla="*/ 1116 w 1116"/>
                <a:gd name="T5" fmla="*/ 274 h 274"/>
                <a:gd name="T6" fmla="*/ 1116 w 1116"/>
                <a:gd name="T7" fmla="*/ 23 h 274"/>
                <a:gd name="T8" fmla="*/ 1100 w 1116"/>
                <a:gd name="T9" fmla="*/ 23 h 274"/>
                <a:gd name="T10" fmla="*/ 92 w 1116"/>
                <a:gd name="T11" fmla="*/ 0 h 274"/>
                <a:gd name="T12" fmla="*/ 24 w 1116"/>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1116" h="274">
                  <a:moveTo>
                    <a:pt x="24" y="0"/>
                  </a:moveTo>
                  <a:lnTo>
                    <a:pt x="0" y="232"/>
                  </a:lnTo>
                  <a:lnTo>
                    <a:pt x="1116" y="274"/>
                  </a:lnTo>
                  <a:lnTo>
                    <a:pt x="1116" y="23"/>
                  </a:lnTo>
                  <a:lnTo>
                    <a:pt x="1100" y="23"/>
                  </a:lnTo>
                  <a:lnTo>
                    <a:pt x="92" y="0"/>
                  </a:lnTo>
                  <a:lnTo>
                    <a:pt x="24" y="0"/>
                  </a:lnTo>
                  <a:close/>
                </a:path>
              </a:pathLst>
            </a:custGeom>
            <a:solidFill>
              <a:srgbClr val="FCFCF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思源黑体 CN Medium"/>
                <a:cs typeface="+mn-cs"/>
              </a:endParaRPr>
            </a:p>
          </p:txBody>
        </p:sp>
        <p:sp>
          <p:nvSpPr>
            <p:cNvPr id="121" name="任意多边形: 形状 120"/>
            <p:cNvSpPr/>
            <p:nvPr/>
          </p:nvSpPr>
          <p:spPr bwMode="auto">
            <a:xfrm flipH="1">
              <a:off x="2650332" y="5936364"/>
              <a:ext cx="1250670" cy="921636"/>
            </a:xfrm>
            <a:custGeom>
              <a:avLst/>
              <a:gdLst>
                <a:gd name="connsiteX0" fmla="*/ 154430 w 1250670"/>
                <a:gd name="connsiteY0" fmla="*/ 0 h 921636"/>
                <a:gd name="connsiteX1" fmla="*/ 106308 w 1250670"/>
                <a:gd name="connsiteY1" fmla="*/ 0 h 921636"/>
                <a:gd name="connsiteX2" fmla="*/ 0 w 1250670"/>
                <a:gd name="connsiteY2" fmla="*/ 921636 h 921636"/>
                <a:gd name="connsiteX3" fmla="*/ 1250670 w 1250670"/>
                <a:gd name="connsiteY3" fmla="*/ 921636 h 921636"/>
                <a:gd name="connsiteX4" fmla="*/ 1246431 w 1250670"/>
                <a:gd name="connsiteY4" fmla="*/ 41644 h 921636"/>
                <a:gd name="connsiteX5" fmla="*/ 1187204 w 1250670"/>
                <a:gd name="connsiteY5" fmla="*/ 38868 h 92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670" h="921636">
                  <a:moveTo>
                    <a:pt x="154430" y="0"/>
                  </a:moveTo>
                  <a:lnTo>
                    <a:pt x="106308" y="0"/>
                  </a:lnTo>
                  <a:lnTo>
                    <a:pt x="0" y="921636"/>
                  </a:lnTo>
                  <a:lnTo>
                    <a:pt x="1250670" y="921636"/>
                  </a:lnTo>
                  <a:lnTo>
                    <a:pt x="1246431" y="41644"/>
                  </a:lnTo>
                  <a:lnTo>
                    <a:pt x="1187204" y="38868"/>
                  </a:lnTo>
                  <a:close/>
                </a:path>
              </a:pathLst>
            </a:custGeom>
            <a:solidFill>
              <a:srgbClr val="4C4C4C"/>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思源黑体 CN Medium"/>
                <a:cs typeface="+mn-cs"/>
              </a:endParaRPr>
            </a:p>
          </p:txBody>
        </p:sp>
      </p:gr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15" name="任意多边形: 形状 214"/>
          <p:cNvSpPr/>
          <p:nvPr userDrawn="1"/>
        </p:nvSpPr>
        <p:spPr>
          <a:xfrm>
            <a:off x="0" y="4841002"/>
            <a:ext cx="11652738" cy="1904035"/>
          </a:xfrm>
          <a:custGeom>
            <a:avLst/>
            <a:gdLst>
              <a:gd name="connsiteX0" fmla="*/ 0 w 11652738"/>
              <a:gd name="connsiteY0" fmla="*/ 0 h 1904035"/>
              <a:gd name="connsiteX1" fmla="*/ 11652738 w 11652738"/>
              <a:gd name="connsiteY1" fmla="*/ 0 h 1904035"/>
              <a:gd name="connsiteX2" fmla="*/ 11176729 w 11652738"/>
              <a:gd name="connsiteY2" fmla="*/ 1904035 h 1904035"/>
              <a:gd name="connsiteX3" fmla="*/ 0 w 11652738"/>
              <a:gd name="connsiteY3" fmla="*/ 1904035 h 1904035"/>
            </a:gdLst>
            <a:ahLst/>
            <a:cxnLst>
              <a:cxn ang="0">
                <a:pos x="connsiteX0" y="connsiteY0"/>
              </a:cxn>
              <a:cxn ang="0">
                <a:pos x="connsiteX1" y="connsiteY1"/>
              </a:cxn>
              <a:cxn ang="0">
                <a:pos x="connsiteX2" y="connsiteY2"/>
              </a:cxn>
              <a:cxn ang="0">
                <a:pos x="connsiteX3" y="connsiteY3"/>
              </a:cxn>
            </a:cxnLst>
            <a:rect l="l" t="t" r="r" b="b"/>
            <a:pathLst>
              <a:path w="11652738" h="1904035">
                <a:moveTo>
                  <a:pt x="0" y="0"/>
                </a:moveTo>
                <a:lnTo>
                  <a:pt x="11652738" y="0"/>
                </a:lnTo>
                <a:lnTo>
                  <a:pt x="11176729" y="1904035"/>
                </a:lnTo>
                <a:lnTo>
                  <a:pt x="0" y="1904035"/>
                </a:lnTo>
                <a:close/>
              </a:path>
            </a:pathLst>
          </a:custGeom>
          <a:gradFill flip="none" rotWithShape="1">
            <a:gsLst>
              <a:gs pos="0">
                <a:schemeClr val="bg1">
                  <a:alpha val="17000"/>
                </a:schemeClr>
              </a:gs>
              <a:gs pos="100000">
                <a:schemeClr val="tx1">
                  <a:lumMod val="65000"/>
                  <a:lumOff val="35000"/>
                  <a:alpha val="64000"/>
                </a:schemeClr>
              </a:gs>
            </a:gsLst>
            <a:lin ang="1620000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white"/>
              </a:solidFill>
              <a:effectLst/>
              <a:uLnTx/>
              <a:uFillTx/>
              <a:cs typeface="+mn-cs"/>
            </a:endParaRPr>
          </a:p>
        </p:txBody>
      </p:sp>
      <p:sp>
        <p:nvSpPr>
          <p:cNvPr id="114" name="íś1ïḍê"/>
          <p:cNvSpPr/>
          <p:nvPr/>
        </p:nvSpPr>
        <p:spPr bwMode="auto">
          <a:xfrm>
            <a:off x="9298660" y="4798944"/>
            <a:ext cx="2553239" cy="343364"/>
          </a:xfrm>
          <a:custGeom>
            <a:avLst/>
            <a:gdLst>
              <a:gd name="T0" fmla="*/ 334 w 334"/>
              <a:gd name="T1" fmla="*/ 22 h 45"/>
              <a:gd name="T2" fmla="*/ 312 w 334"/>
              <a:gd name="T3" fmla="*/ 0 h 45"/>
              <a:gd name="T4" fmla="*/ 309 w 334"/>
              <a:gd name="T5" fmla="*/ 0 h 45"/>
              <a:gd name="T6" fmla="*/ 0 w 334"/>
              <a:gd name="T7" fmla="*/ 0 h 45"/>
              <a:gd name="T8" fmla="*/ 0 w 334"/>
              <a:gd name="T9" fmla="*/ 45 h 45"/>
              <a:gd name="T10" fmla="*/ 312 w 334"/>
              <a:gd name="T11" fmla="*/ 45 h 45"/>
              <a:gd name="T12" fmla="*/ 312 w 334"/>
              <a:gd name="T13" fmla="*/ 45 h 45"/>
              <a:gd name="T14" fmla="*/ 334 w 334"/>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4" h="45">
                <a:moveTo>
                  <a:pt x="334" y="22"/>
                </a:moveTo>
                <a:cubicBezTo>
                  <a:pt x="334" y="10"/>
                  <a:pt x="324" y="0"/>
                  <a:pt x="312" y="0"/>
                </a:cubicBezTo>
                <a:cubicBezTo>
                  <a:pt x="311" y="0"/>
                  <a:pt x="310" y="0"/>
                  <a:pt x="309" y="0"/>
                </a:cubicBezTo>
                <a:cubicBezTo>
                  <a:pt x="0" y="0"/>
                  <a:pt x="0" y="0"/>
                  <a:pt x="0" y="0"/>
                </a:cubicBezTo>
                <a:cubicBezTo>
                  <a:pt x="0" y="45"/>
                  <a:pt x="0" y="45"/>
                  <a:pt x="0" y="45"/>
                </a:cubicBezTo>
                <a:cubicBezTo>
                  <a:pt x="312" y="45"/>
                  <a:pt x="312" y="45"/>
                  <a:pt x="312" y="45"/>
                </a:cubicBezTo>
                <a:cubicBezTo>
                  <a:pt x="312" y="45"/>
                  <a:pt x="312" y="45"/>
                  <a:pt x="312" y="45"/>
                </a:cubicBezTo>
                <a:cubicBezTo>
                  <a:pt x="324" y="44"/>
                  <a:pt x="334" y="34"/>
                  <a:pt x="334" y="22"/>
                </a:cubicBez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5" name="iṡliḑe"/>
          <p:cNvSpPr/>
          <p:nvPr/>
        </p:nvSpPr>
        <p:spPr bwMode="auto">
          <a:xfrm>
            <a:off x="11171721" y="5013195"/>
            <a:ext cx="641818" cy="381723"/>
          </a:xfrm>
          <a:custGeom>
            <a:avLst/>
            <a:gdLst>
              <a:gd name="T0" fmla="*/ 392 w 686"/>
              <a:gd name="T1" fmla="*/ 408 h 408"/>
              <a:gd name="T2" fmla="*/ 686 w 686"/>
              <a:gd name="T3" fmla="*/ 65 h 408"/>
              <a:gd name="T4" fmla="*/ 229 w 686"/>
              <a:gd name="T5" fmla="*/ 0 h 408"/>
              <a:gd name="T6" fmla="*/ 0 w 686"/>
              <a:gd name="T7" fmla="*/ 228 h 408"/>
              <a:gd name="T8" fmla="*/ 392 w 686"/>
              <a:gd name="T9" fmla="*/ 408 h 408"/>
            </a:gdLst>
            <a:ahLst/>
            <a:cxnLst>
              <a:cxn ang="0">
                <a:pos x="T0" y="T1"/>
              </a:cxn>
              <a:cxn ang="0">
                <a:pos x="T2" y="T3"/>
              </a:cxn>
              <a:cxn ang="0">
                <a:pos x="T4" y="T5"/>
              </a:cxn>
              <a:cxn ang="0">
                <a:pos x="T6" y="T7"/>
              </a:cxn>
              <a:cxn ang="0">
                <a:pos x="T8" y="T9"/>
              </a:cxn>
            </a:cxnLst>
            <a:rect l="0" t="0" r="r" b="b"/>
            <a:pathLst>
              <a:path w="686" h="408">
                <a:moveTo>
                  <a:pt x="392" y="408"/>
                </a:moveTo>
                <a:lnTo>
                  <a:pt x="686" y="65"/>
                </a:lnTo>
                <a:lnTo>
                  <a:pt x="229" y="0"/>
                </a:lnTo>
                <a:lnTo>
                  <a:pt x="0" y="228"/>
                </a:lnTo>
                <a:lnTo>
                  <a:pt x="392" y="408"/>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6" name="îş1îde"/>
          <p:cNvSpPr/>
          <p:nvPr/>
        </p:nvSpPr>
        <p:spPr bwMode="auto">
          <a:xfrm>
            <a:off x="8985235"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7" name="îş1íḓê"/>
          <p:cNvSpPr/>
          <p:nvPr/>
        </p:nvSpPr>
        <p:spPr bwMode="auto">
          <a:xfrm>
            <a:off x="902359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8" name="ísľíďè"/>
          <p:cNvSpPr/>
          <p:nvPr/>
        </p:nvSpPr>
        <p:spPr bwMode="auto">
          <a:xfrm>
            <a:off x="931456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9" name="îSľïḍè"/>
          <p:cNvSpPr/>
          <p:nvPr/>
        </p:nvSpPr>
        <p:spPr bwMode="auto">
          <a:xfrm>
            <a:off x="961208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0" name="í$ḷiḑê"/>
          <p:cNvSpPr/>
          <p:nvPr/>
        </p:nvSpPr>
        <p:spPr bwMode="auto">
          <a:xfrm>
            <a:off x="9910539"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1" name="íŝļïďè"/>
          <p:cNvSpPr/>
          <p:nvPr/>
        </p:nvSpPr>
        <p:spPr bwMode="auto">
          <a:xfrm>
            <a:off x="10208993"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2" name="îşlídè"/>
          <p:cNvSpPr/>
          <p:nvPr/>
        </p:nvSpPr>
        <p:spPr bwMode="auto">
          <a:xfrm>
            <a:off x="10499028"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3" name="işļíḍè"/>
          <p:cNvSpPr/>
          <p:nvPr/>
        </p:nvSpPr>
        <p:spPr bwMode="auto">
          <a:xfrm>
            <a:off x="10797483"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4" name="íšļïḑè"/>
          <p:cNvSpPr/>
          <p:nvPr/>
        </p:nvSpPr>
        <p:spPr bwMode="auto">
          <a:xfrm>
            <a:off x="11095002"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5" name="îšļïḋê"/>
          <p:cNvSpPr/>
          <p:nvPr/>
        </p:nvSpPr>
        <p:spPr bwMode="auto">
          <a:xfrm>
            <a:off x="8985235" y="5112369"/>
            <a:ext cx="2591598" cy="343364"/>
          </a:xfrm>
          <a:custGeom>
            <a:avLst/>
            <a:gdLst>
              <a:gd name="T0" fmla="*/ 339 w 339"/>
              <a:gd name="T1" fmla="*/ 22 h 45"/>
              <a:gd name="T2" fmla="*/ 317 w 339"/>
              <a:gd name="T3" fmla="*/ 0 h 45"/>
              <a:gd name="T4" fmla="*/ 314 w 339"/>
              <a:gd name="T5" fmla="*/ 0 h 45"/>
              <a:gd name="T6" fmla="*/ 0 w 339"/>
              <a:gd name="T7" fmla="*/ 0 h 45"/>
              <a:gd name="T8" fmla="*/ 0 w 339"/>
              <a:gd name="T9" fmla="*/ 45 h 45"/>
              <a:gd name="T10" fmla="*/ 317 w 339"/>
              <a:gd name="T11" fmla="*/ 45 h 45"/>
              <a:gd name="T12" fmla="*/ 317 w 339"/>
              <a:gd name="T13" fmla="*/ 45 h 45"/>
              <a:gd name="T14" fmla="*/ 339 w 339"/>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45">
                <a:moveTo>
                  <a:pt x="339" y="22"/>
                </a:moveTo>
                <a:cubicBezTo>
                  <a:pt x="339" y="10"/>
                  <a:pt x="329" y="0"/>
                  <a:pt x="317" y="0"/>
                </a:cubicBezTo>
                <a:cubicBezTo>
                  <a:pt x="316" y="0"/>
                  <a:pt x="315" y="0"/>
                  <a:pt x="314" y="0"/>
                </a:cubicBezTo>
                <a:cubicBezTo>
                  <a:pt x="0" y="0"/>
                  <a:pt x="0" y="0"/>
                  <a:pt x="0" y="0"/>
                </a:cubicBezTo>
                <a:cubicBezTo>
                  <a:pt x="0" y="45"/>
                  <a:pt x="0" y="45"/>
                  <a:pt x="0" y="45"/>
                </a:cubicBezTo>
                <a:cubicBezTo>
                  <a:pt x="317" y="45"/>
                  <a:pt x="317" y="45"/>
                  <a:pt x="317" y="45"/>
                </a:cubicBezTo>
                <a:cubicBezTo>
                  <a:pt x="317" y="45"/>
                  <a:pt x="317" y="45"/>
                  <a:pt x="317" y="45"/>
                </a:cubicBezTo>
                <a:cubicBezTo>
                  <a:pt x="330" y="44"/>
                  <a:pt x="339" y="34"/>
                  <a:pt x="339" y="22"/>
                </a:cubicBez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6" name="íṣlíde"/>
          <p:cNvSpPr/>
          <p:nvPr/>
        </p:nvSpPr>
        <p:spPr bwMode="auto">
          <a:xfrm>
            <a:off x="11408426" y="4813915"/>
            <a:ext cx="421018" cy="443472"/>
          </a:xfrm>
          <a:custGeom>
            <a:avLst/>
            <a:gdLst>
              <a:gd name="T0" fmla="*/ 0 w 55"/>
              <a:gd name="T1" fmla="*/ 38 h 58"/>
              <a:gd name="T2" fmla="*/ 34 w 55"/>
              <a:gd name="T3" fmla="*/ 0 h 58"/>
              <a:gd name="T4" fmla="*/ 55 w 55"/>
              <a:gd name="T5" fmla="*/ 17 h 58"/>
              <a:gd name="T6" fmla="*/ 19 w 55"/>
              <a:gd name="T7" fmla="*/ 58 h 58"/>
              <a:gd name="T8" fmla="*/ 0 w 55"/>
              <a:gd name="T9" fmla="*/ 38 h 58"/>
            </a:gdLst>
            <a:ahLst/>
            <a:cxnLst>
              <a:cxn ang="0">
                <a:pos x="T0" y="T1"/>
              </a:cxn>
              <a:cxn ang="0">
                <a:pos x="T2" y="T3"/>
              </a:cxn>
              <a:cxn ang="0">
                <a:pos x="T4" y="T5"/>
              </a:cxn>
              <a:cxn ang="0">
                <a:pos x="T6" y="T7"/>
              </a:cxn>
              <a:cxn ang="0">
                <a:pos x="T8" y="T9"/>
              </a:cxn>
            </a:cxnLst>
            <a:rect l="0" t="0" r="r" b="b"/>
            <a:pathLst>
              <a:path w="55" h="58">
                <a:moveTo>
                  <a:pt x="0" y="38"/>
                </a:moveTo>
                <a:cubicBezTo>
                  <a:pt x="34" y="0"/>
                  <a:pt x="34" y="0"/>
                  <a:pt x="34" y="0"/>
                </a:cubicBezTo>
                <a:cubicBezTo>
                  <a:pt x="34" y="0"/>
                  <a:pt x="50" y="0"/>
                  <a:pt x="55" y="17"/>
                </a:cubicBezTo>
                <a:cubicBezTo>
                  <a:pt x="45" y="27"/>
                  <a:pt x="19" y="58"/>
                  <a:pt x="19" y="58"/>
                </a:cubicBezTo>
                <a:cubicBezTo>
                  <a:pt x="19" y="58"/>
                  <a:pt x="21" y="40"/>
                  <a:pt x="0" y="38"/>
                </a:cubicBez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7" name="íṩliḓê"/>
          <p:cNvSpPr/>
          <p:nvPr/>
        </p:nvSpPr>
        <p:spPr bwMode="auto">
          <a:xfrm>
            <a:off x="11538474" y="4967353"/>
            <a:ext cx="290970" cy="420082"/>
          </a:xfrm>
          <a:custGeom>
            <a:avLst/>
            <a:gdLst>
              <a:gd name="T0" fmla="*/ 38 w 38"/>
              <a:gd name="T1" fmla="*/ 0 h 55"/>
              <a:gd name="T2" fmla="*/ 2 w 38"/>
              <a:gd name="T3" fmla="*/ 43 h 55"/>
              <a:gd name="T4" fmla="*/ 0 w 38"/>
              <a:gd name="T5" fmla="*/ 55 h 55"/>
              <a:gd name="T6" fmla="*/ 35 w 38"/>
              <a:gd name="T7" fmla="*/ 15 h 55"/>
              <a:gd name="T8" fmla="*/ 38 w 38"/>
              <a:gd name="T9" fmla="*/ 0 h 55"/>
            </a:gdLst>
            <a:ahLst/>
            <a:cxnLst>
              <a:cxn ang="0">
                <a:pos x="T0" y="T1"/>
              </a:cxn>
              <a:cxn ang="0">
                <a:pos x="T2" y="T3"/>
              </a:cxn>
              <a:cxn ang="0">
                <a:pos x="T4" y="T5"/>
              </a:cxn>
              <a:cxn ang="0">
                <a:pos x="T6" y="T7"/>
              </a:cxn>
              <a:cxn ang="0">
                <a:pos x="T8" y="T9"/>
              </a:cxn>
            </a:cxnLst>
            <a:rect l="0" t="0" r="r" b="b"/>
            <a:pathLst>
              <a:path w="38" h="55">
                <a:moveTo>
                  <a:pt x="38" y="0"/>
                </a:moveTo>
                <a:cubicBezTo>
                  <a:pt x="2" y="43"/>
                  <a:pt x="2" y="43"/>
                  <a:pt x="2" y="43"/>
                </a:cubicBezTo>
                <a:cubicBezTo>
                  <a:pt x="2" y="43"/>
                  <a:pt x="3" y="50"/>
                  <a:pt x="0" y="55"/>
                </a:cubicBezTo>
                <a:cubicBezTo>
                  <a:pt x="17" y="37"/>
                  <a:pt x="35" y="15"/>
                  <a:pt x="35" y="15"/>
                </a:cubicBezTo>
                <a:cubicBezTo>
                  <a:pt x="35" y="15"/>
                  <a:pt x="38" y="8"/>
                  <a:pt x="38" y="0"/>
                </a:cubicBez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2" name="îş1îde"/>
          <p:cNvSpPr/>
          <p:nvPr/>
        </p:nvSpPr>
        <p:spPr bwMode="auto">
          <a:xfrm>
            <a:off x="6621765"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3" name="îş1íḓê"/>
          <p:cNvSpPr/>
          <p:nvPr/>
        </p:nvSpPr>
        <p:spPr bwMode="auto">
          <a:xfrm>
            <a:off x="66601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4" name="ísľíďè"/>
          <p:cNvSpPr/>
          <p:nvPr/>
        </p:nvSpPr>
        <p:spPr bwMode="auto">
          <a:xfrm>
            <a:off x="695109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5" name="îSľïḍè"/>
          <p:cNvSpPr/>
          <p:nvPr/>
        </p:nvSpPr>
        <p:spPr bwMode="auto">
          <a:xfrm>
            <a:off x="72486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6" name="í$ḷiḑê"/>
          <p:cNvSpPr/>
          <p:nvPr/>
        </p:nvSpPr>
        <p:spPr bwMode="auto">
          <a:xfrm>
            <a:off x="7547069"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7" name="íŝļïďè"/>
          <p:cNvSpPr/>
          <p:nvPr/>
        </p:nvSpPr>
        <p:spPr bwMode="auto">
          <a:xfrm>
            <a:off x="7845523"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8" name="îşlídè"/>
          <p:cNvSpPr/>
          <p:nvPr/>
        </p:nvSpPr>
        <p:spPr bwMode="auto">
          <a:xfrm>
            <a:off x="8135558"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9" name="işļíḍè"/>
          <p:cNvSpPr/>
          <p:nvPr/>
        </p:nvSpPr>
        <p:spPr bwMode="auto">
          <a:xfrm>
            <a:off x="8434013"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70" name="íšļïḑè"/>
          <p:cNvSpPr/>
          <p:nvPr/>
        </p:nvSpPr>
        <p:spPr bwMode="auto">
          <a:xfrm>
            <a:off x="8731532"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71" name="îšļïḋê"/>
          <p:cNvSpPr/>
          <p:nvPr/>
        </p:nvSpPr>
        <p:spPr bwMode="auto">
          <a:xfrm>
            <a:off x="6621765"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2" name="îş1îde"/>
          <p:cNvSpPr/>
          <p:nvPr/>
        </p:nvSpPr>
        <p:spPr bwMode="auto">
          <a:xfrm>
            <a:off x="4250421"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3" name="îş1íḓê"/>
          <p:cNvSpPr/>
          <p:nvPr/>
        </p:nvSpPr>
        <p:spPr bwMode="auto">
          <a:xfrm>
            <a:off x="4288781"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4" name="ísľíďè"/>
          <p:cNvSpPr/>
          <p:nvPr/>
        </p:nvSpPr>
        <p:spPr bwMode="auto">
          <a:xfrm>
            <a:off x="457975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5" name="îSľïḍè"/>
          <p:cNvSpPr/>
          <p:nvPr/>
        </p:nvSpPr>
        <p:spPr bwMode="auto">
          <a:xfrm>
            <a:off x="48772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6" name="í$ḷiḑê"/>
          <p:cNvSpPr/>
          <p:nvPr/>
        </p:nvSpPr>
        <p:spPr bwMode="auto">
          <a:xfrm>
            <a:off x="51757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7" name="íŝļïďè"/>
          <p:cNvSpPr/>
          <p:nvPr/>
        </p:nvSpPr>
        <p:spPr bwMode="auto">
          <a:xfrm>
            <a:off x="54741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8" name="îşlídè"/>
          <p:cNvSpPr/>
          <p:nvPr/>
        </p:nvSpPr>
        <p:spPr bwMode="auto">
          <a:xfrm>
            <a:off x="57642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9" name="işļíḍè"/>
          <p:cNvSpPr/>
          <p:nvPr/>
        </p:nvSpPr>
        <p:spPr bwMode="auto">
          <a:xfrm>
            <a:off x="60626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0" name="íšļïḑè"/>
          <p:cNvSpPr/>
          <p:nvPr/>
        </p:nvSpPr>
        <p:spPr bwMode="auto">
          <a:xfrm>
            <a:off x="63601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1" name="îšļïḋê"/>
          <p:cNvSpPr/>
          <p:nvPr/>
        </p:nvSpPr>
        <p:spPr bwMode="auto">
          <a:xfrm>
            <a:off x="4250421"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2" name="îş1îde"/>
          <p:cNvSpPr/>
          <p:nvPr/>
        </p:nvSpPr>
        <p:spPr bwMode="auto">
          <a:xfrm>
            <a:off x="1888221"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3" name="îş1íḓê"/>
          <p:cNvSpPr/>
          <p:nvPr/>
        </p:nvSpPr>
        <p:spPr bwMode="auto">
          <a:xfrm>
            <a:off x="1926581"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4" name="ísľíďè"/>
          <p:cNvSpPr/>
          <p:nvPr/>
        </p:nvSpPr>
        <p:spPr bwMode="auto">
          <a:xfrm>
            <a:off x="221755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5" name="îSľïḍè"/>
          <p:cNvSpPr/>
          <p:nvPr/>
        </p:nvSpPr>
        <p:spPr bwMode="auto">
          <a:xfrm>
            <a:off x="25150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6" name="í$ḷiḑê"/>
          <p:cNvSpPr/>
          <p:nvPr/>
        </p:nvSpPr>
        <p:spPr bwMode="auto">
          <a:xfrm>
            <a:off x="28135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7" name="íŝļïďè"/>
          <p:cNvSpPr/>
          <p:nvPr/>
        </p:nvSpPr>
        <p:spPr bwMode="auto">
          <a:xfrm>
            <a:off x="31119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8" name="îşlídè"/>
          <p:cNvSpPr/>
          <p:nvPr/>
        </p:nvSpPr>
        <p:spPr bwMode="auto">
          <a:xfrm>
            <a:off x="34020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9" name="işļíḍè"/>
          <p:cNvSpPr/>
          <p:nvPr/>
        </p:nvSpPr>
        <p:spPr bwMode="auto">
          <a:xfrm>
            <a:off x="37004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0" name="íšļïḑè"/>
          <p:cNvSpPr/>
          <p:nvPr/>
        </p:nvSpPr>
        <p:spPr bwMode="auto">
          <a:xfrm>
            <a:off x="39979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1" name="îšļïḋê"/>
          <p:cNvSpPr/>
          <p:nvPr/>
        </p:nvSpPr>
        <p:spPr bwMode="auto">
          <a:xfrm>
            <a:off x="1888221"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8" name="任意多边形: 形状 217"/>
          <p:cNvSpPr/>
          <p:nvPr/>
        </p:nvSpPr>
        <p:spPr bwMode="auto">
          <a:xfrm>
            <a:off x="1" y="4798944"/>
            <a:ext cx="2201823" cy="313425"/>
          </a:xfrm>
          <a:custGeom>
            <a:avLst/>
            <a:gdLst>
              <a:gd name="connsiteX0" fmla="*/ 0 w 2201823"/>
              <a:gd name="connsiteY0" fmla="*/ 0 h 313425"/>
              <a:gd name="connsiteX1" fmla="*/ 2201823 w 2201823"/>
              <a:gd name="connsiteY1" fmla="*/ 0 h 313425"/>
              <a:gd name="connsiteX2" fmla="*/ 1911789 w 2201823"/>
              <a:gd name="connsiteY2" fmla="*/ 313425 h 313425"/>
              <a:gd name="connsiteX3" fmla="*/ 0 w 2201823"/>
              <a:gd name="connsiteY3" fmla="*/ 313425 h 313425"/>
            </a:gdLst>
            <a:ahLst/>
            <a:cxnLst>
              <a:cxn ang="0">
                <a:pos x="connsiteX0" y="connsiteY0"/>
              </a:cxn>
              <a:cxn ang="0">
                <a:pos x="connsiteX1" y="connsiteY1"/>
              </a:cxn>
              <a:cxn ang="0">
                <a:pos x="connsiteX2" y="connsiteY2"/>
              </a:cxn>
              <a:cxn ang="0">
                <a:pos x="connsiteX3" y="connsiteY3"/>
              </a:cxn>
            </a:cxnLst>
            <a:rect l="l" t="t" r="r" b="b"/>
            <a:pathLst>
              <a:path w="2201823" h="313425">
                <a:moveTo>
                  <a:pt x="0" y="0"/>
                </a:moveTo>
                <a:lnTo>
                  <a:pt x="2201823" y="0"/>
                </a:lnTo>
                <a:lnTo>
                  <a:pt x="1911789" y="313425"/>
                </a:lnTo>
                <a:lnTo>
                  <a:pt x="0" y="31342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7" name="任意多边形: 形状 216"/>
          <p:cNvSpPr/>
          <p:nvPr/>
        </p:nvSpPr>
        <p:spPr bwMode="auto">
          <a:xfrm>
            <a:off x="1" y="4806429"/>
            <a:ext cx="99541" cy="108006"/>
          </a:xfrm>
          <a:custGeom>
            <a:avLst/>
            <a:gdLst>
              <a:gd name="connsiteX0" fmla="*/ 0 w 99541"/>
              <a:gd name="connsiteY0" fmla="*/ 0 h 108006"/>
              <a:gd name="connsiteX1" fmla="*/ 99541 w 99541"/>
              <a:gd name="connsiteY1" fmla="*/ 0 h 108006"/>
              <a:gd name="connsiteX2" fmla="*/ 0 w 99541"/>
              <a:gd name="connsiteY2" fmla="*/ 108006 h 108006"/>
            </a:gdLst>
            <a:ahLst/>
            <a:cxnLst>
              <a:cxn ang="0">
                <a:pos x="connsiteX0" y="connsiteY0"/>
              </a:cxn>
              <a:cxn ang="0">
                <a:pos x="connsiteX1" y="connsiteY1"/>
              </a:cxn>
              <a:cxn ang="0">
                <a:pos x="connsiteX2" y="connsiteY2"/>
              </a:cxn>
            </a:cxnLst>
            <a:rect l="l" t="t" r="r" b="b"/>
            <a:pathLst>
              <a:path w="99541" h="108006">
                <a:moveTo>
                  <a:pt x="0" y="0"/>
                </a:moveTo>
                <a:lnTo>
                  <a:pt x="99541" y="0"/>
                </a:lnTo>
                <a:lnTo>
                  <a:pt x="0" y="108006"/>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9" name="任意多边形: 形状 218"/>
          <p:cNvSpPr/>
          <p:nvPr/>
        </p:nvSpPr>
        <p:spPr bwMode="auto">
          <a:xfrm>
            <a:off x="0" y="4806429"/>
            <a:ext cx="397995" cy="298455"/>
          </a:xfrm>
          <a:custGeom>
            <a:avLst/>
            <a:gdLst>
              <a:gd name="connsiteX0" fmla="*/ 130415 w 397995"/>
              <a:gd name="connsiteY0" fmla="*/ 0 h 298455"/>
              <a:gd name="connsiteX1" fmla="*/ 397995 w 397995"/>
              <a:gd name="connsiteY1" fmla="*/ 0 h 298455"/>
              <a:gd name="connsiteX2" fmla="*/ 122930 w 397995"/>
              <a:gd name="connsiteY2" fmla="*/ 298455 h 298455"/>
              <a:gd name="connsiteX3" fmla="*/ 0 w 397995"/>
              <a:gd name="connsiteY3" fmla="*/ 298455 h 298455"/>
              <a:gd name="connsiteX4" fmla="*/ 0 w 397995"/>
              <a:gd name="connsiteY4" fmla="*/ 141505 h 29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95" h="298455">
                <a:moveTo>
                  <a:pt x="130415" y="0"/>
                </a:moveTo>
                <a:lnTo>
                  <a:pt x="397995" y="0"/>
                </a:lnTo>
                <a:lnTo>
                  <a:pt x="122930" y="298455"/>
                </a:lnTo>
                <a:lnTo>
                  <a:pt x="0" y="298455"/>
                </a:lnTo>
                <a:lnTo>
                  <a:pt x="0" y="141505"/>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5" name="îSľïḍè"/>
          <p:cNvSpPr/>
          <p:nvPr/>
        </p:nvSpPr>
        <p:spPr bwMode="auto">
          <a:xfrm>
            <a:off x="1528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6" name="í$ḷiḑê"/>
          <p:cNvSpPr/>
          <p:nvPr/>
        </p:nvSpPr>
        <p:spPr bwMode="auto">
          <a:xfrm>
            <a:off x="4513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7" name="íŝļïďè"/>
          <p:cNvSpPr/>
          <p:nvPr/>
        </p:nvSpPr>
        <p:spPr bwMode="auto">
          <a:xfrm>
            <a:off x="7497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8" name="îşlídè"/>
          <p:cNvSpPr/>
          <p:nvPr/>
        </p:nvSpPr>
        <p:spPr bwMode="auto">
          <a:xfrm>
            <a:off x="10398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9" name="işļíḍè"/>
          <p:cNvSpPr/>
          <p:nvPr/>
        </p:nvSpPr>
        <p:spPr bwMode="auto">
          <a:xfrm>
            <a:off x="13382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0" name="íšļïḑè"/>
          <p:cNvSpPr/>
          <p:nvPr/>
        </p:nvSpPr>
        <p:spPr bwMode="auto">
          <a:xfrm>
            <a:off x="16357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6" name="任意多边形: 形状 215"/>
          <p:cNvSpPr/>
          <p:nvPr/>
        </p:nvSpPr>
        <p:spPr bwMode="auto">
          <a:xfrm>
            <a:off x="1" y="5112369"/>
            <a:ext cx="1905947" cy="343364"/>
          </a:xfrm>
          <a:custGeom>
            <a:avLst/>
            <a:gdLst>
              <a:gd name="connsiteX0" fmla="*/ 0 w 1905947"/>
              <a:gd name="connsiteY0" fmla="*/ 0 h 343364"/>
              <a:gd name="connsiteX1" fmla="*/ 1905947 w 1905947"/>
              <a:gd name="connsiteY1" fmla="*/ 0 h 343364"/>
              <a:gd name="connsiteX2" fmla="*/ 1905947 w 1905947"/>
              <a:gd name="connsiteY2" fmla="*/ 343364 h 343364"/>
              <a:gd name="connsiteX3" fmla="*/ 0 w 1905947"/>
              <a:gd name="connsiteY3" fmla="*/ 343364 h 343364"/>
            </a:gdLst>
            <a:ahLst/>
            <a:cxnLst>
              <a:cxn ang="0">
                <a:pos x="connsiteX0" y="connsiteY0"/>
              </a:cxn>
              <a:cxn ang="0">
                <a:pos x="connsiteX1" y="connsiteY1"/>
              </a:cxn>
              <a:cxn ang="0">
                <a:pos x="connsiteX2" y="connsiteY2"/>
              </a:cxn>
              <a:cxn ang="0">
                <a:pos x="connsiteX3" y="connsiteY3"/>
              </a:cxn>
            </a:cxnLst>
            <a:rect l="l" t="t" r="r" b="b"/>
            <a:pathLst>
              <a:path w="1905947" h="343364">
                <a:moveTo>
                  <a:pt x="0" y="0"/>
                </a:moveTo>
                <a:lnTo>
                  <a:pt x="1905947" y="0"/>
                </a:lnTo>
                <a:lnTo>
                  <a:pt x="1905947" y="343364"/>
                </a:lnTo>
                <a:lnTo>
                  <a:pt x="0" y="343364"/>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nvGrpSpPr>
          <p:cNvPr id="172" name="组合 171"/>
          <p:cNvGrpSpPr/>
          <p:nvPr/>
        </p:nvGrpSpPr>
        <p:grpSpPr>
          <a:xfrm>
            <a:off x="517026" y="2977480"/>
            <a:ext cx="1892580" cy="2070572"/>
            <a:chOff x="164632" y="2987274"/>
            <a:chExt cx="1983137" cy="2169647"/>
          </a:xfrm>
        </p:grpSpPr>
        <p:grpSp>
          <p:nvGrpSpPr>
            <p:cNvPr id="173" name="组合 172"/>
            <p:cNvGrpSpPr/>
            <p:nvPr/>
          </p:nvGrpSpPr>
          <p:grpSpPr>
            <a:xfrm>
              <a:off x="164632" y="4894285"/>
              <a:ext cx="405114" cy="260096"/>
              <a:chOff x="4742689" y="4248832"/>
              <a:chExt cx="405114" cy="260096"/>
            </a:xfrm>
          </p:grpSpPr>
          <p:sp>
            <p:nvSpPr>
              <p:cNvPr id="213" name="isḻiḓè"/>
              <p:cNvSpPr/>
              <p:nvPr/>
            </p:nvSpPr>
            <p:spPr bwMode="auto">
              <a:xfrm>
                <a:off x="4742689" y="4272222"/>
                <a:ext cx="405113" cy="236706"/>
              </a:xfrm>
              <a:custGeom>
                <a:avLst/>
                <a:gdLst>
                  <a:gd name="T0" fmla="*/ 53 w 53"/>
                  <a:gd name="T1" fmla="*/ 18 h 31"/>
                  <a:gd name="T2" fmla="*/ 53 w 53"/>
                  <a:gd name="T3" fmla="*/ 12 h 31"/>
                  <a:gd name="T4" fmla="*/ 49 w 53"/>
                  <a:gd name="T5" fmla="*/ 11 h 31"/>
                  <a:gd name="T6" fmla="*/ 50 w 53"/>
                  <a:gd name="T7" fmla="*/ 10 h 31"/>
                  <a:gd name="T8" fmla="*/ 43 w 53"/>
                  <a:gd name="T9" fmla="*/ 5 h 31"/>
                  <a:gd name="T10" fmla="*/ 41 w 53"/>
                  <a:gd name="T11" fmla="*/ 0 h 31"/>
                  <a:gd name="T12" fmla="*/ 19 w 53"/>
                  <a:gd name="T13" fmla="*/ 2 h 31"/>
                  <a:gd name="T14" fmla="*/ 12 w 53"/>
                  <a:gd name="T15" fmla="*/ 4 h 31"/>
                  <a:gd name="T16" fmla="*/ 4 w 53"/>
                  <a:gd name="T17" fmla="*/ 6 h 31"/>
                  <a:gd name="T18" fmla="*/ 0 w 53"/>
                  <a:gd name="T19" fmla="*/ 13 h 31"/>
                  <a:gd name="T20" fmla="*/ 1 w 53"/>
                  <a:gd name="T21" fmla="*/ 19 h 31"/>
                  <a:gd name="T22" fmla="*/ 2 w 53"/>
                  <a:gd name="T23" fmla="*/ 20 h 31"/>
                  <a:gd name="T24" fmla="*/ 2 w 53"/>
                  <a:gd name="T25" fmla="*/ 23 h 31"/>
                  <a:gd name="T26" fmla="*/ 4 w 53"/>
                  <a:gd name="T27" fmla="*/ 26 h 31"/>
                  <a:gd name="T28" fmla="*/ 9 w 53"/>
                  <a:gd name="T29" fmla="*/ 25 h 31"/>
                  <a:gd name="T30" fmla="*/ 10 w 53"/>
                  <a:gd name="T31" fmla="*/ 28 h 31"/>
                  <a:gd name="T32" fmla="*/ 14 w 53"/>
                  <a:gd name="T33" fmla="*/ 30 h 31"/>
                  <a:gd name="T34" fmla="*/ 18 w 53"/>
                  <a:gd name="T35" fmla="*/ 29 h 31"/>
                  <a:gd name="T36" fmla="*/ 22 w 53"/>
                  <a:gd name="T37" fmla="*/ 31 h 31"/>
                  <a:gd name="T38" fmla="*/ 29 w 53"/>
                  <a:gd name="T39" fmla="*/ 31 h 31"/>
                  <a:gd name="T40" fmla="*/ 31 w 53"/>
                  <a:gd name="T41" fmla="*/ 29 h 31"/>
                  <a:gd name="T42" fmla="*/ 36 w 53"/>
                  <a:gd name="T43" fmla="*/ 30 h 31"/>
                  <a:gd name="T44" fmla="*/ 43 w 53"/>
                  <a:gd name="T45" fmla="*/ 29 h 31"/>
                  <a:gd name="T46" fmla="*/ 43 w 53"/>
                  <a:gd name="T47" fmla="*/ 28 h 31"/>
                  <a:gd name="T48" fmla="*/ 43 w 53"/>
                  <a:gd name="T49" fmla="*/ 28 h 31"/>
                  <a:gd name="T50" fmla="*/ 45 w 53"/>
                  <a:gd name="T51" fmla="*/ 25 h 31"/>
                  <a:gd name="T52" fmla="*/ 49 w 53"/>
                  <a:gd name="T53" fmla="*/ 25 h 31"/>
                  <a:gd name="T54" fmla="*/ 51 w 53"/>
                  <a:gd name="T55" fmla="*/ 23 h 31"/>
                  <a:gd name="T56" fmla="*/ 51 w 53"/>
                  <a:gd name="T57" fmla="*/ 19 h 31"/>
                  <a:gd name="T58" fmla="*/ 53 w 53"/>
                  <a:gd name="T59" fmla="*/ 19 h 31"/>
                  <a:gd name="T60" fmla="*/ 38 w 53"/>
                  <a:gd name="T61" fmla="*/ 20 h 31"/>
                  <a:gd name="T62" fmla="*/ 13 w 53"/>
                  <a:gd name="T63" fmla="*/ 18 h 31"/>
                  <a:gd name="T64" fmla="*/ 27 w 53"/>
                  <a:gd name="T65" fmla="*/ 10 h 31"/>
                  <a:gd name="T66" fmla="*/ 38 w 53"/>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31">
                    <a:moveTo>
                      <a:pt x="53" y="19"/>
                    </a:moveTo>
                    <a:cubicBezTo>
                      <a:pt x="53" y="18"/>
                      <a:pt x="53" y="18"/>
                      <a:pt x="53" y="18"/>
                    </a:cubicBezTo>
                    <a:cubicBezTo>
                      <a:pt x="53" y="18"/>
                      <a:pt x="53" y="18"/>
                      <a:pt x="53" y="18"/>
                    </a:cubicBezTo>
                    <a:cubicBezTo>
                      <a:pt x="53" y="12"/>
                      <a:pt x="53" y="12"/>
                      <a:pt x="53" y="12"/>
                    </a:cubicBezTo>
                    <a:cubicBezTo>
                      <a:pt x="50" y="12"/>
                      <a:pt x="50" y="12"/>
                      <a:pt x="50" y="12"/>
                    </a:cubicBezTo>
                    <a:cubicBezTo>
                      <a:pt x="49" y="11"/>
                      <a:pt x="49" y="11"/>
                      <a:pt x="49" y="11"/>
                    </a:cubicBezTo>
                    <a:cubicBezTo>
                      <a:pt x="48" y="10"/>
                      <a:pt x="48" y="10"/>
                      <a:pt x="48" y="10"/>
                    </a:cubicBezTo>
                    <a:cubicBezTo>
                      <a:pt x="50" y="10"/>
                      <a:pt x="50" y="10"/>
                      <a:pt x="50" y="10"/>
                    </a:cubicBezTo>
                    <a:cubicBezTo>
                      <a:pt x="50" y="5"/>
                      <a:pt x="50" y="5"/>
                      <a:pt x="50" y="5"/>
                    </a:cubicBezTo>
                    <a:cubicBezTo>
                      <a:pt x="43" y="5"/>
                      <a:pt x="43" y="5"/>
                      <a:pt x="43" y="5"/>
                    </a:cubicBezTo>
                    <a:cubicBezTo>
                      <a:pt x="42" y="4"/>
                      <a:pt x="42" y="4"/>
                      <a:pt x="42" y="4"/>
                    </a:cubicBezTo>
                    <a:cubicBezTo>
                      <a:pt x="41" y="0"/>
                      <a:pt x="41" y="0"/>
                      <a:pt x="41" y="0"/>
                    </a:cubicBezTo>
                    <a:cubicBezTo>
                      <a:pt x="37" y="1"/>
                      <a:pt x="37" y="1"/>
                      <a:pt x="37" y="1"/>
                    </a:cubicBezTo>
                    <a:cubicBezTo>
                      <a:pt x="19" y="2"/>
                      <a:pt x="19" y="2"/>
                      <a:pt x="19" y="2"/>
                    </a:cubicBezTo>
                    <a:cubicBezTo>
                      <a:pt x="12" y="1"/>
                      <a:pt x="12" y="1"/>
                      <a:pt x="12" y="1"/>
                    </a:cubicBezTo>
                    <a:cubicBezTo>
                      <a:pt x="12" y="4"/>
                      <a:pt x="12" y="4"/>
                      <a:pt x="12" y="4"/>
                    </a:cubicBezTo>
                    <a:cubicBezTo>
                      <a:pt x="9" y="7"/>
                      <a:pt x="9" y="7"/>
                      <a:pt x="9" y="7"/>
                    </a:cubicBezTo>
                    <a:cubicBezTo>
                      <a:pt x="4" y="6"/>
                      <a:pt x="4" y="6"/>
                      <a:pt x="4" y="6"/>
                    </a:cubicBezTo>
                    <a:cubicBezTo>
                      <a:pt x="4" y="11"/>
                      <a:pt x="4" y="11"/>
                      <a:pt x="4" y="11"/>
                    </a:cubicBezTo>
                    <a:cubicBezTo>
                      <a:pt x="0" y="13"/>
                      <a:pt x="0" y="13"/>
                      <a:pt x="0" y="13"/>
                    </a:cubicBezTo>
                    <a:cubicBezTo>
                      <a:pt x="0" y="19"/>
                      <a:pt x="0" y="19"/>
                      <a:pt x="0" y="19"/>
                    </a:cubicBezTo>
                    <a:cubicBezTo>
                      <a:pt x="1" y="19"/>
                      <a:pt x="1" y="19"/>
                      <a:pt x="1" y="19"/>
                    </a:cubicBezTo>
                    <a:cubicBezTo>
                      <a:pt x="1" y="19"/>
                      <a:pt x="1" y="20"/>
                      <a:pt x="2" y="20"/>
                    </a:cubicBezTo>
                    <a:cubicBezTo>
                      <a:pt x="2" y="20"/>
                      <a:pt x="2" y="20"/>
                      <a:pt x="2" y="20"/>
                    </a:cubicBezTo>
                    <a:cubicBezTo>
                      <a:pt x="2" y="23"/>
                      <a:pt x="2" y="23"/>
                      <a:pt x="2" y="23"/>
                    </a:cubicBezTo>
                    <a:cubicBezTo>
                      <a:pt x="2" y="23"/>
                      <a:pt x="2" y="23"/>
                      <a:pt x="2" y="23"/>
                    </a:cubicBezTo>
                    <a:cubicBezTo>
                      <a:pt x="2" y="24"/>
                      <a:pt x="2" y="24"/>
                      <a:pt x="2" y="24"/>
                    </a:cubicBezTo>
                    <a:cubicBezTo>
                      <a:pt x="4" y="26"/>
                      <a:pt x="4" y="26"/>
                      <a:pt x="4" y="26"/>
                    </a:cubicBezTo>
                    <a:cubicBezTo>
                      <a:pt x="4" y="26"/>
                      <a:pt x="5" y="26"/>
                      <a:pt x="6" y="26"/>
                    </a:cubicBezTo>
                    <a:cubicBezTo>
                      <a:pt x="9" y="25"/>
                      <a:pt x="9" y="25"/>
                      <a:pt x="9" y="25"/>
                    </a:cubicBezTo>
                    <a:cubicBezTo>
                      <a:pt x="9" y="25"/>
                      <a:pt x="9" y="26"/>
                      <a:pt x="10" y="26"/>
                    </a:cubicBezTo>
                    <a:cubicBezTo>
                      <a:pt x="10" y="28"/>
                      <a:pt x="10" y="28"/>
                      <a:pt x="10" y="28"/>
                    </a:cubicBezTo>
                    <a:cubicBezTo>
                      <a:pt x="10" y="28"/>
                      <a:pt x="10" y="29"/>
                      <a:pt x="11" y="29"/>
                    </a:cubicBezTo>
                    <a:cubicBezTo>
                      <a:pt x="14" y="30"/>
                      <a:pt x="14" y="30"/>
                      <a:pt x="14" y="30"/>
                    </a:cubicBezTo>
                    <a:cubicBezTo>
                      <a:pt x="15" y="30"/>
                      <a:pt x="16" y="30"/>
                      <a:pt x="17" y="30"/>
                    </a:cubicBezTo>
                    <a:cubicBezTo>
                      <a:pt x="18" y="29"/>
                      <a:pt x="18" y="29"/>
                      <a:pt x="18" y="29"/>
                    </a:cubicBezTo>
                    <a:cubicBezTo>
                      <a:pt x="20" y="29"/>
                      <a:pt x="21" y="29"/>
                      <a:pt x="23" y="29"/>
                    </a:cubicBezTo>
                    <a:cubicBezTo>
                      <a:pt x="22" y="31"/>
                      <a:pt x="22" y="31"/>
                      <a:pt x="22" y="31"/>
                    </a:cubicBezTo>
                    <a:cubicBezTo>
                      <a:pt x="22" y="31"/>
                      <a:pt x="23" y="31"/>
                      <a:pt x="24" y="31"/>
                    </a:cubicBezTo>
                    <a:cubicBezTo>
                      <a:pt x="29" y="31"/>
                      <a:pt x="29" y="31"/>
                      <a:pt x="29" y="31"/>
                    </a:cubicBezTo>
                    <a:cubicBezTo>
                      <a:pt x="30" y="31"/>
                      <a:pt x="31" y="31"/>
                      <a:pt x="31" y="30"/>
                    </a:cubicBezTo>
                    <a:cubicBezTo>
                      <a:pt x="31" y="29"/>
                      <a:pt x="31" y="29"/>
                      <a:pt x="31" y="29"/>
                    </a:cubicBezTo>
                    <a:cubicBezTo>
                      <a:pt x="32" y="29"/>
                      <a:pt x="33" y="29"/>
                      <a:pt x="35" y="29"/>
                    </a:cubicBezTo>
                    <a:cubicBezTo>
                      <a:pt x="36" y="30"/>
                      <a:pt x="36" y="30"/>
                      <a:pt x="36" y="30"/>
                    </a:cubicBezTo>
                    <a:cubicBezTo>
                      <a:pt x="37" y="30"/>
                      <a:pt x="38" y="30"/>
                      <a:pt x="39" y="30"/>
                    </a:cubicBezTo>
                    <a:cubicBezTo>
                      <a:pt x="43" y="29"/>
                      <a:pt x="43" y="29"/>
                      <a:pt x="43" y="29"/>
                    </a:cubicBezTo>
                    <a:cubicBezTo>
                      <a:pt x="43"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4" y="26"/>
                      <a:pt x="44" y="25"/>
                      <a:pt x="45" y="25"/>
                    </a:cubicBezTo>
                    <a:cubicBezTo>
                      <a:pt x="47" y="26"/>
                      <a:pt x="47" y="26"/>
                      <a:pt x="47" y="26"/>
                    </a:cubicBezTo>
                    <a:cubicBezTo>
                      <a:pt x="48" y="26"/>
                      <a:pt x="49"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3" y="19"/>
                      <a:pt x="53" y="19"/>
                    </a:cubicBezTo>
                    <a:cubicBezTo>
                      <a:pt x="53" y="19"/>
                      <a:pt x="53" y="19"/>
                      <a:pt x="53" y="19"/>
                    </a:cubicBezTo>
                    <a:close/>
                    <a:moveTo>
                      <a:pt x="38" y="20"/>
                    </a:moveTo>
                    <a:cubicBezTo>
                      <a:pt x="36" y="22"/>
                      <a:pt x="32" y="21"/>
                      <a:pt x="27" y="21"/>
                    </a:cubicBezTo>
                    <a:cubicBezTo>
                      <a:pt x="19" y="21"/>
                      <a:pt x="13" y="22"/>
                      <a:pt x="13" y="18"/>
                    </a:cubicBezTo>
                    <a:cubicBezTo>
                      <a:pt x="13" y="16"/>
                      <a:pt x="14" y="15"/>
                      <a:pt x="16" y="14"/>
                    </a:cubicBezTo>
                    <a:cubicBezTo>
                      <a:pt x="18" y="12"/>
                      <a:pt x="22" y="11"/>
                      <a:pt x="27" y="10"/>
                    </a:cubicBezTo>
                    <a:cubicBezTo>
                      <a:pt x="34" y="10"/>
                      <a:pt x="40" y="14"/>
                      <a:pt x="40" y="18"/>
                    </a:cubicBezTo>
                    <a:cubicBezTo>
                      <a:pt x="40" y="19"/>
                      <a:pt x="40"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4" name="î$ḷíḓê"/>
              <p:cNvSpPr/>
              <p:nvPr/>
            </p:nvSpPr>
            <p:spPr bwMode="auto">
              <a:xfrm>
                <a:off x="4742690" y="4248832"/>
                <a:ext cx="405113" cy="214251"/>
              </a:xfrm>
              <a:custGeom>
                <a:avLst/>
                <a:gdLst>
                  <a:gd name="T0" fmla="*/ 53 w 53"/>
                  <a:gd name="T1" fmla="*/ 15 h 28"/>
                  <a:gd name="T2" fmla="*/ 49 w 53"/>
                  <a:gd name="T3" fmla="*/ 16 h 28"/>
                  <a:gd name="T4" fmla="*/ 50 w 53"/>
                  <a:gd name="T5" fmla="*/ 19 h 28"/>
                  <a:gd name="T6" fmla="*/ 49 w 53"/>
                  <a:gd name="T7" fmla="*/ 22 h 28"/>
                  <a:gd name="T8" fmla="*/ 45 w 53"/>
                  <a:gd name="T9" fmla="*/ 22 h 28"/>
                  <a:gd name="T10" fmla="*/ 43 w 53"/>
                  <a:gd name="T11" fmla="*/ 24 h 28"/>
                  <a:gd name="T12" fmla="*/ 39 w 53"/>
                  <a:gd name="T13" fmla="*/ 27 h 28"/>
                  <a:gd name="T14" fmla="*/ 35 w 53"/>
                  <a:gd name="T15" fmla="*/ 25 h 28"/>
                  <a:gd name="T16" fmla="*/ 31 w 53"/>
                  <a:gd name="T17" fmla="*/ 27 h 28"/>
                  <a:gd name="T18" fmla="*/ 24 w 53"/>
                  <a:gd name="T19" fmla="*/ 28 h 28"/>
                  <a:gd name="T20" fmla="*/ 23 w 53"/>
                  <a:gd name="T21" fmla="*/ 26 h 28"/>
                  <a:gd name="T22" fmla="*/ 17 w 53"/>
                  <a:gd name="T23" fmla="*/ 26 h 28"/>
                  <a:gd name="T24" fmla="*/ 11 w 53"/>
                  <a:gd name="T25" fmla="*/ 26 h 28"/>
                  <a:gd name="T26" fmla="*/ 11 w 53"/>
                  <a:gd name="T27" fmla="*/ 23 h 28"/>
                  <a:gd name="T28" fmla="*/ 6 w 53"/>
                  <a:gd name="T29" fmla="*/ 22 h 28"/>
                  <a:gd name="T30" fmla="*/ 2 w 53"/>
                  <a:gd name="T31" fmla="*/ 20 h 28"/>
                  <a:gd name="T32" fmla="*/ 5 w 53"/>
                  <a:gd name="T33" fmla="*/ 18 h 28"/>
                  <a:gd name="T34" fmla="*/ 2 w 53"/>
                  <a:gd name="T35" fmla="*/ 16 h 28"/>
                  <a:gd name="T36" fmla="*/ 1 w 53"/>
                  <a:gd name="T37" fmla="*/ 13 h 28"/>
                  <a:gd name="T38" fmla="*/ 5 w 53"/>
                  <a:gd name="T39" fmla="*/ 12 h 28"/>
                  <a:gd name="T40" fmla="*/ 5 w 53"/>
                  <a:gd name="T41" fmla="*/ 10 h 28"/>
                  <a:gd name="T42" fmla="*/ 7 w 53"/>
                  <a:gd name="T43" fmla="*/ 6 h 28"/>
                  <a:gd name="T44" fmla="*/ 11 w 53"/>
                  <a:gd name="T45" fmla="*/ 7 h 28"/>
                  <a:gd name="T46" fmla="*/ 12 w 53"/>
                  <a:gd name="T47" fmla="*/ 4 h 28"/>
                  <a:gd name="T48" fmla="*/ 17 w 53"/>
                  <a:gd name="T49" fmla="*/ 2 h 28"/>
                  <a:gd name="T50" fmla="*/ 20 w 53"/>
                  <a:gd name="T51" fmla="*/ 3 h 28"/>
                  <a:gd name="T52" fmla="*/ 23 w 53"/>
                  <a:gd name="T53" fmla="*/ 1 h 28"/>
                  <a:gd name="T54" fmla="*/ 29 w 53"/>
                  <a:gd name="T55" fmla="*/ 0 h 28"/>
                  <a:gd name="T56" fmla="*/ 30 w 53"/>
                  <a:gd name="T57" fmla="*/ 2 h 28"/>
                  <a:gd name="T58" fmla="*/ 35 w 53"/>
                  <a:gd name="T59" fmla="*/ 2 h 28"/>
                  <a:gd name="T60" fmla="*/ 41 w 53"/>
                  <a:gd name="T61" fmla="*/ 3 h 28"/>
                  <a:gd name="T62" fmla="*/ 40 w 53"/>
                  <a:gd name="T63" fmla="*/ 5 h 28"/>
                  <a:gd name="T64" fmla="*/ 45 w 53"/>
                  <a:gd name="T65" fmla="*/ 6 h 28"/>
                  <a:gd name="T66" fmla="*/ 49 w 53"/>
                  <a:gd name="T67" fmla="*/ 8 h 28"/>
                  <a:gd name="T68" fmla="*/ 47 w 53"/>
                  <a:gd name="T69" fmla="*/ 10 h 28"/>
                  <a:gd name="T70" fmla="*/ 51 w 53"/>
                  <a:gd name="T71" fmla="*/ 12 h 28"/>
                  <a:gd name="T72" fmla="*/ 38 w 53"/>
                  <a:gd name="T73" fmla="*/ 18 h 28"/>
                  <a:gd name="T74" fmla="*/ 27 w 53"/>
                  <a:gd name="T75" fmla="*/ 7 h 28"/>
                  <a:gd name="T76" fmla="*/ 13 w 53"/>
                  <a:gd name="T77" fmla="*/ 14 h 28"/>
                  <a:gd name="T78" fmla="*/ 38 w 5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28">
                    <a:moveTo>
                      <a:pt x="53" y="13"/>
                    </a:moveTo>
                    <a:cubicBezTo>
                      <a:pt x="53" y="15"/>
                      <a:pt x="53" y="15"/>
                      <a:pt x="53" y="15"/>
                    </a:cubicBezTo>
                    <a:cubicBezTo>
                      <a:pt x="53" y="16"/>
                      <a:pt x="52" y="16"/>
                      <a:pt x="51" y="16"/>
                    </a:cubicBezTo>
                    <a:cubicBezTo>
                      <a:pt x="49" y="16"/>
                      <a:pt x="49" y="16"/>
                      <a:pt x="49" y="16"/>
                    </a:cubicBezTo>
                    <a:cubicBezTo>
                      <a:pt x="49" y="17"/>
                      <a:pt x="49" y="17"/>
                      <a:pt x="48" y="18"/>
                    </a:cubicBezTo>
                    <a:cubicBezTo>
                      <a:pt x="50" y="19"/>
                      <a:pt x="50" y="19"/>
                      <a:pt x="50" y="19"/>
                    </a:cubicBezTo>
                    <a:cubicBezTo>
                      <a:pt x="51" y="19"/>
                      <a:pt x="52" y="20"/>
                      <a:pt x="51" y="20"/>
                    </a:cubicBezTo>
                    <a:cubicBezTo>
                      <a:pt x="49" y="22"/>
                      <a:pt x="49" y="22"/>
                      <a:pt x="49" y="22"/>
                    </a:cubicBezTo>
                    <a:cubicBezTo>
                      <a:pt x="49" y="22"/>
                      <a:pt x="48" y="23"/>
                      <a:pt x="47" y="22"/>
                    </a:cubicBezTo>
                    <a:cubicBezTo>
                      <a:pt x="45" y="22"/>
                      <a:pt x="45" y="22"/>
                      <a:pt x="45" y="22"/>
                    </a:cubicBezTo>
                    <a:cubicBezTo>
                      <a:pt x="44" y="22"/>
                      <a:pt x="43" y="23"/>
                      <a:pt x="42" y="23"/>
                    </a:cubicBezTo>
                    <a:cubicBezTo>
                      <a:pt x="43" y="24"/>
                      <a:pt x="43" y="24"/>
                      <a:pt x="43" y="24"/>
                    </a:cubicBezTo>
                    <a:cubicBezTo>
                      <a:pt x="44" y="25"/>
                      <a:pt x="43" y="25"/>
                      <a:pt x="43" y="25"/>
                    </a:cubicBezTo>
                    <a:cubicBezTo>
                      <a:pt x="39" y="27"/>
                      <a:pt x="39" y="27"/>
                      <a:pt x="39" y="27"/>
                    </a:cubicBezTo>
                    <a:cubicBezTo>
                      <a:pt x="38" y="27"/>
                      <a:pt x="37" y="27"/>
                      <a:pt x="36" y="26"/>
                    </a:cubicBezTo>
                    <a:cubicBezTo>
                      <a:pt x="35" y="25"/>
                      <a:pt x="35" y="25"/>
                      <a:pt x="35" y="25"/>
                    </a:cubicBezTo>
                    <a:cubicBezTo>
                      <a:pt x="33" y="25"/>
                      <a:pt x="32" y="26"/>
                      <a:pt x="31" y="26"/>
                    </a:cubicBezTo>
                    <a:cubicBezTo>
                      <a:pt x="31" y="27"/>
                      <a:pt x="31" y="27"/>
                      <a:pt x="31" y="27"/>
                    </a:cubicBezTo>
                    <a:cubicBezTo>
                      <a:pt x="31" y="28"/>
                      <a:pt x="30" y="28"/>
                      <a:pt x="29" y="28"/>
                    </a:cubicBezTo>
                    <a:cubicBezTo>
                      <a:pt x="24" y="28"/>
                      <a:pt x="24" y="28"/>
                      <a:pt x="24" y="28"/>
                    </a:cubicBezTo>
                    <a:cubicBezTo>
                      <a:pt x="23" y="28"/>
                      <a:pt x="22" y="28"/>
                      <a:pt x="22" y="27"/>
                    </a:cubicBezTo>
                    <a:cubicBezTo>
                      <a:pt x="23" y="26"/>
                      <a:pt x="23" y="26"/>
                      <a:pt x="23" y="26"/>
                    </a:cubicBezTo>
                    <a:cubicBezTo>
                      <a:pt x="21" y="26"/>
                      <a:pt x="20" y="25"/>
                      <a:pt x="18" y="25"/>
                    </a:cubicBezTo>
                    <a:cubicBezTo>
                      <a:pt x="17" y="26"/>
                      <a:pt x="17" y="26"/>
                      <a:pt x="17" y="26"/>
                    </a:cubicBezTo>
                    <a:cubicBezTo>
                      <a:pt x="16" y="27"/>
                      <a:pt x="15" y="27"/>
                      <a:pt x="14" y="27"/>
                    </a:cubicBezTo>
                    <a:cubicBezTo>
                      <a:pt x="11" y="26"/>
                      <a:pt x="11" y="26"/>
                      <a:pt x="11" y="26"/>
                    </a:cubicBezTo>
                    <a:cubicBezTo>
                      <a:pt x="10" y="25"/>
                      <a:pt x="10" y="25"/>
                      <a:pt x="10" y="24"/>
                    </a:cubicBezTo>
                    <a:cubicBezTo>
                      <a:pt x="11" y="23"/>
                      <a:pt x="11" y="23"/>
                      <a:pt x="11" y="23"/>
                    </a:cubicBezTo>
                    <a:cubicBezTo>
                      <a:pt x="10" y="23"/>
                      <a:pt x="9" y="22"/>
                      <a:pt x="9" y="22"/>
                    </a:cubicBezTo>
                    <a:cubicBezTo>
                      <a:pt x="6" y="22"/>
                      <a:pt x="6" y="22"/>
                      <a:pt x="6" y="22"/>
                    </a:cubicBezTo>
                    <a:cubicBezTo>
                      <a:pt x="5" y="23"/>
                      <a:pt x="4" y="22"/>
                      <a:pt x="4" y="22"/>
                    </a:cubicBezTo>
                    <a:cubicBezTo>
                      <a:pt x="2" y="20"/>
                      <a:pt x="2" y="20"/>
                      <a:pt x="2" y="20"/>
                    </a:cubicBezTo>
                    <a:cubicBezTo>
                      <a:pt x="2" y="20"/>
                      <a:pt x="2" y="19"/>
                      <a:pt x="3" y="19"/>
                    </a:cubicBezTo>
                    <a:cubicBezTo>
                      <a:pt x="5" y="18"/>
                      <a:pt x="5" y="18"/>
                      <a:pt x="5" y="18"/>
                    </a:cubicBezTo>
                    <a:cubicBezTo>
                      <a:pt x="5" y="18"/>
                      <a:pt x="5" y="17"/>
                      <a:pt x="4" y="16"/>
                    </a:cubicBezTo>
                    <a:cubicBezTo>
                      <a:pt x="2" y="16"/>
                      <a:pt x="2" y="16"/>
                      <a:pt x="2" y="16"/>
                    </a:cubicBezTo>
                    <a:cubicBezTo>
                      <a:pt x="1" y="16"/>
                      <a:pt x="0" y="16"/>
                      <a:pt x="0" y="15"/>
                    </a:cubicBezTo>
                    <a:cubicBezTo>
                      <a:pt x="1" y="13"/>
                      <a:pt x="1" y="13"/>
                      <a:pt x="1" y="13"/>
                    </a:cubicBezTo>
                    <a:cubicBezTo>
                      <a:pt x="1" y="13"/>
                      <a:pt x="2" y="12"/>
                      <a:pt x="3" y="12"/>
                    </a:cubicBezTo>
                    <a:cubicBezTo>
                      <a:pt x="5" y="12"/>
                      <a:pt x="5" y="12"/>
                      <a:pt x="5" y="12"/>
                    </a:cubicBezTo>
                    <a:cubicBezTo>
                      <a:pt x="5" y="12"/>
                      <a:pt x="6" y="11"/>
                      <a:pt x="6" y="10"/>
                    </a:cubicBezTo>
                    <a:cubicBezTo>
                      <a:pt x="5" y="10"/>
                      <a:pt x="5" y="10"/>
                      <a:pt x="5" y="10"/>
                    </a:cubicBezTo>
                    <a:cubicBezTo>
                      <a:pt x="4" y="9"/>
                      <a:pt x="4" y="9"/>
                      <a:pt x="4" y="8"/>
                    </a:cubicBezTo>
                    <a:cubicBezTo>
                      <a:pt x="7" y="6"/>
                      <a:pt x="7" y="6"/>
                      <a:pt x="7" y="6"/>
                    </a:cubicBezTo>
                    <a:cubicBezTo>
                      <a:pt x="7" y="6"/>
                      <a:pt x="8" y="6"/>
                      <a:pt x="9" y="6"/>
                    </a:cubicBezTo>
                    <a:cubicBezTo>
                      <a:pt x="11" y="7"/>
                      <a:pt x="11" y="7"/>
                      <a:pt x="11" y="7"/>
                    </a:cubicBezTo>
                    <a:cubicBezTo>
                      <a:pt x="11" y="6"/>
                      <a:pt x="12" y="6"/>
                      <a:pt x="14" y="5"/>
                    </a:cubicBezTo>
                    <a:cubicBezTo>
                      <a:pt x="12" y="4"/>
                      <a:pt x="12" y="4"/>
                      <a:pt x="12" y="4"/>
                    </a:cubicBezTo>
                    <a:cubicBezTo>
                      <a:pt x="12" y="4"/>
                      <a:pt x="12" y="3"/>
                      <a:pt x="13" y="3"/>
                    </a:cubicBezTo>
                    <a:cubicBezTo>
                      <a:pt x="17" y="2"/>
                      <a:pt x="17" y="2"/>
                      <a:pt x="17" y="2"/>
                    </a:cubicBezTo>
                    <a:cubicBezTo>
                      <a:pt x="17" y="2"/>
                      <a:pt x="18" y="2"/>
                      <a:pt x="19" y="2"/>
                    </a:cubicBezTo>
                    <a:cubicBezTo>
                      <a:pt x="20" y="3"/>
                      <a:pt x="20" y="3"/>
                      <a:pt x="20" y="3"/>
                    </a:cubicBezTo>
                    <a:cubicBezTo>
                      <a:pt x="21" y="3"/>
                      <a:pt x="22" y="3"/>
                      <a:pt x="23" y="3"/>
                    </a:cubicBezTo>
                    <a:cubicBezTo>
                      <a:pt x="23" y="1"/>
                      <a:pt x="23" y="1"/>
                      <a:pt x="23" y="1"/>
                    </a:cubicBezTo>
                    <a:cubicBezTo>
                      <a:pt x="24" y="1"/>
                      <a:pt x="24" y="0"/>
                      <a:pt x="25" y="0"/>
                    </a:cubicBezTo>
                    <a:cubicBezTo>
                      <a:pt x="29" y="0"/>
                      <a:pt x="29" y="0"/>
                      <a:pt x="29" y="0"/>
                    </a:cubicBezTo>
                    <a:cubicBezTo>
                      <a:pt x="30" y="0"/>
                      <a:pt x="30" y="1"/>
                      <a:pt x="30" y="1"/>
                    </a:cubicBezTo>
                    <a:cubicBezTo>
                      <a:pt x="30" y="2"/>
                      <a:pt x="30" y="2"/>
                      <a:pt x="30" y="2"/>
                    </a:cubicBezTo>
                    <a:cubicBezTo>
                      <a:pt x="32" y="3"/>
                      <a:pt x="33" y="3"/>
                      <a:pt x="34" y="3"/>
                    </a:cubicBezTo>
                    <a:cubicBezTo>
                      <a:pt x="35" y="2"/>
                      <a:pt x="35" y="2"/>
                      <a:pt x="35" y="2"/>
                    </a:cubicBezTo>
                    <a:cubicBezTo>
                      <a:pt x="36" y="1"/>
                      <a:pt x="36" y="1"/>
                      <a:pt x="37" y="1"/>
                    </a:cubicBezTo>
                    <a:cubicBezTo>
                      <a:pt x="41" y="3"/>
                      <a:pt x="41" y="3"/>
                      <a:pt x="41" y="3"/>
                    </a:cubicBezTo>
                    <a:cubicBezTo>
                      <a:pt x="41" y="3"/>
                      <a:pt x="42" y="3"/>
                      <a:pt x="41" y="4"/>
                    </a:cubicBezTo>
                    <a:cubicBezTo>
                      <a:pt x="40" y="5"/>
                      <a:pt x="40" y="5"/>
                      <a:pt x="40" y="5"/>
                    </a:cubicBezTo>
                    <a:cubicBezTo>
                      <a:pt x="41" y="5"/>
                      <a:pt x="42" y="6"/>
                      <a:pt x="43" y="6"/>
                    </a:cubicBezTo>
                    <a:cubicBezTo>
                      <a:pt x="45" y="6"/>
                      <a:pt x="45" y="6"/>
                      <a:pt x="45" y="6"/>
                    </a:cubicBezTo>
                    <a:cubicBezTo>
                      <a:pt x="46" y="5"/>
                      <a:pt x="47" y="6"/>
                      <a:pt x="47" y="6"/>
                    </a:cubicBezTo>
                    <a:cubicBezTo>
                      <a:pt x="49" y="8"/>
                      <a:pt x="49" y="8"/>
                      <a:pt x="49" y="8"/>
                    </a:cubicBezTo>
                    <a:cubicBezTo>
                      <a:pt x="50" y="8"/>
                      <a:pt x="50" y="9"/>
                      <a:pt x="49" y="9"/>
                    </a:cubicBezTo>
                    <a:cubicBezTo>
                      <a:pt x="47" y="10"/>
                      <a:pt x="47" y="10"/>
                      <a:pt x="47" y="10"/>
                    </a:cubicBezTo>
                    <a:cubicBezTo>
                      <a:pt x="48" y="10"/>
                      <a:pt x="48" y="11"/>
                      <a:pt x="48" y="12"/>
                    </a:cubicBezTo>
                    <a:cubicBezTo>
                      <a:pt x="51" y="12"/>
                      <a:pt x="51" y="12"/>
                      <a:pt x="51" y="12"/>
                    </a:cubicBezTo>
                    <a:cubicBezTo>
                      <a:pt x="52" y="12"/>
                      <a:pt x="52" y="12"/>
                      <a:pt x="53" y="13"/>
                    </a:cubicBezTo>
                    <a:close/>
                    <a:moveTo>
                      <a:pt x="38" y="18"/>
                    </a:moveTo>
                    <a:cubicBezTo>
                      <a:pt x="40" y="17"/>
                      <a:pt x="40" y="16"/>
                      <a:pt x="40" y="14"/>
                    </a:cubicBezTo>
                    <a:cubicBezTo>
                      <a:pt x="40" y="10"/>
                      <a:pt x="34" y="7"/>
                      <a:pt x="27" y="7"/>
                    </a:cubicBezTo>
                    <a:cubicBezTo>
                      <a:pt x="22" y="7"/>
                      <a:pt x="18" y="8"/>
                      <a:pt x="16" y="10"/>
                    </a:cubicBezTo>
                    <a:cubicBezTo>
                      <a:pt x="14" y="11"/>
                      <a:pt x="13" y="13"/>
                      <a:pt x="13" y="14"/>
                    </a:cubicBezTo>
                    <a:cubicBezTo>
                      <a:pt x="13" y="18"/>
                      <a:pt x="19" y="21"/>
                      <a:pt x="27" y="21"/>
                    </a:cubicBezTo>
                    <a:cubicBezTo>
                      <a:pt x="32" y="21"/>
                      <a:pt x="36"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grpSp>
          <p:nvGrpSpPr>
            <p:cNvPr id="174" name="组合 173"/>
            <p:cNvGrpSpPr/>
            <p:nvPr/>
          </p:nvGrpSpPr>
          <p:grpSpPr>
            <a:xfrm>
              <a:off x="1750140" y="4894285"/>
              <a:ext cx="397629" cy="260096"/>
              <a:chOff x="6293907" y="4248832"/>
              <a:chExt cx="397629" cy="260096"/>
            </a:xfrm>
          </p:grpSpPr>
          <p:sp>
            <p:nvSpPr>
              <p:cNvPr id="209" name="iṣḻîďe"/>
              <p:cNvSpPr/>
              <p:nvPr/>
            </p:nvSpPr>
            <p:spPr bwMode="auto">
              <a:xfrm>
                <a:off x="6423954" y="4355490"/>
                <a:ext cx="137533" cy="61749"/>
              </a:xfrm>
              <a:prstGeom prst="rect">
                <a:avLst/>
              </a:prstGeom>
              <a:solidFill>
                <a:srgbClr val="DEDED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0" name="iś1îďè"/>
              <p:cNvSpPr/>
              <p:nvPr/>
            </p:nvSpPr>
            <p:spPr bwMode="auto">
              <a:xfrm>
                <a:off x="6293907" y="4272222"/>
                <a:ext cx="397628" cy="236706"/>
              </a:xfrm>
              <a:custGeom>
                <a:avLst/>
                <a:gdLst>
                  <a:gd name="T0" fmla="*/ 52 w 52"/>
                  <a:gd name="T1" fmla="*/ 18 h 31"/>
                  <a:gd name="T2" fmla="*/ 52 w 52"/>
                  <a:gd name="T3" fmla="*/ 12 h 31"/>
                  <a:gd name="T4" fmla="*/ 49 w 52"/>
                  <a:gd name="T5" fmla="*/ 11 h 31"/>
                  <a:gd name="T6" fmla="*/ 49 w 52"/>
                  <a:gd name="T7" fmla="*/ 9 h 31"/>
                  <a:gd name="T8" fmla="*/ 43 w 52"/>
                  <a:gd name="T9" fmla="*/ 5 h 31"/>
                  <a:gd name="T10" fmla="*/ 41 w 52"/>
                  <a:gd name="T11" fmla="*/ 0 h 31"/>
                  <a:gd name="T12" fmla="*/ 19 w 52"/>
                  <a:gd name="T13" fmla="*/ 2 h 31"/>
                  <a:gd name="T14" fmla="*/ 12 w 52"/>
                  <a:gd name="T15" fmla="*/ 4 h 31"/>
                  <a:gd name="T16" fmla="*/ 3 w 52"/>
                  <a:gd name="T17" fmla="*/ 6 h 31"/>
                  <a:gd name="T18" fmla="*/ 0 w 52"/>
                  <a:gd name="T19" fmla="*/ 13 h 31"/>
                  <a:gd name="T20" fmla="*/ 0 w 52"/>
                  <a:gd name="T21" fmla="*/ 19 h 31"/>
                  <a:gd name="T22" fmla="*/ 1 w 52"/>
                  <a:gd name="T23" fmla="*/ 20 h 31"/>
                  <a:gd name="T24" fmla="*/ 1 w 52"/>
                  <a:gd name="T25" fmla="*/ 23 h 31"/>
                  <a:gd name="T26" fmla="*/ 3 w 52"/>
                  <a:gd name="T27" fmla="*/ 25 h 31"/>
                  <a:gd name="T28" fmla="*/ 8 w 52"/>
                  <a:gd name="T29" fmla="*/ 25 h 31"/>
                  <a:gd name="T30" fmla="*/ 9 w 52"/>
                  <a:gd name="T31" fmla="*/ 28 h 31"/>
                  <a:gd name="T32" fmla="*/ 14 w 52"/>
                  <a:gd name="T33" fmla="*/ 30 h 31"/>
                  <a:gd name="T34" fmla="*/ 18 w 52"/>
                  <a:gd name="T35" fmla="*/ 29 h 31"/>
                  <a:gd name="T36" fmla="*/ 22 w 52"/>
                  <a:gd name="T37" fmla="*/ 30 h 31"/>
                  <a:gd name="T38" fmla="*/ 28 w 52"/>
                  <a:gd name="T39" fmla="*/ 31 h 31"/>
                  <a:gd name="T40" fmla="*/ 30 w 52"/>
                  <a:gd name="T41" fmla="*/ 29 h 31"/>
                  <a:gd name="T42" fmla="*/ 36 w 52"/>
                  <a:gd name="T43" fmla="*/ 30 h 31"/>
                  <a:gd name="T44" fmla="*/ 42 w 52"/>
                  <a:gd name="T45" fmla="*/ 29 h 31"/>
                  <a:gd name="T46" fmla="*/ 43 w 52"/>
                  <a:gd name="T47" fmla="*/ 28 h 31"/>
                  <a:gd name="T48" fmla="*/ 43 w 52"/>
                  <a:gd name="T49" fmla="*/ 28 h 31"/>
                  <a:gd name="T50" fmla="*/ 44 w 52"/>
                  <a:gd name="T51" fmla="*/ 25 h 31"/>
                  <a:gd name="T52" fmla="*/ 49 w 52"/>
                  <a:gd name="T53" fmla="*/ 25 h 31"/>
                  <a:gd name="T54" fmla="*/ 51 w 52"/>
                  <a:gd name="T55" fmla="*/ 23 h 31"/>
                  <a:gd name="T56" fmla="*/ 51 w 52"/>
                  <a:gd name="T57" fmla="*/ 19 h 31"/>
                  <a:gd name="T58" fmla="*/ 52 w 52"/>
                  <a:gd name="T59" fmla="*/ 19 h 31"/>
                  <a:gd name="T60" fmla="*/ 38 w 52"/>
                  <a:gd name="T61" fmla="*/ 20 h 31"/>
                  <a:gd name="T62" fmla="*/ 12 w 52"/>
                  <a:gd name="T63" fmla="*/ 18 h 31"/>
                  <a:gd name="T64" fmla="*/ 26 w 52"/>
                  <a:gd name="T65" fmla="*/ 10 h 31"/>
                  <a:gd name="T66" fmla="*/ 38 w 52"/>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31">
                    <a:moveTo>
                      <a:pt x="52" y="19"/>
                    </a:moveTo>
                    <a:cubicBezTo>
                      <a:pt x="52" y="18"/>
                      <a:pt x="52" y="18"/>
                      <a:pt x="52" y="18"/>
                    </a:cubicBezTo>
                    <a:cubicBezTo>
                      <a:pt x="52" y="18"/>
                      <a:pt x="52" y="18"/>
                      <a:pt x="52" y="18"/>
                    </a:cubicBezTo>
                    <a:cubicBezTo>
                      <a:pt x="52" y="12"/>
                      <a:pt x="52" y="12"/>
                      <a:pt x="52" y="12"/>
                    </a:cubicBezTo>
                    <a:cubicBezTo>
                      <a:pt x="49" y="12"/>
                      <a:pt x="49" y="12"/>
                      <a:pt x="49" y="12"/>
                    </a:cubicBezTo>
                    <a:cubicBezTo>
                      <a:pt x="49" y="11"/>
                      <a:pt x="49" y="11"/>
                      <a:pt x="49" y="11"/>
                    </a:cubicBezTo>
                    <a:cubicBezTo>
                      <a:pt x="48" y="10"/>
                      <a:pt x="48" y="10"/>
                      <a:pt x="48" y="10"/>
                    </a:cubicBezTo>
                    <a:cubicBezTo>
                      <a:pt x="49" y="9"/>
                      <a:pt x="49" y="9"/>
                      <a:pt x="49" y="9"/>
                    </a:cubicBezTo>
                    <a:cubicBezTo>
                      <a:pt x="49" y="5"/>
                      <a:pt x="49" y="5"/>
                      <a:pt x="49" y="5"/>
                    </a:cubicBezTo>
                    <a:cubicBezTo>
                      <a:pt x="43" y="5"/>
                      <a:pt x="43" y="5"/>
                      <a:pt x="43" y="5"/>
                    </a:cubicBezTo>
                    <a:cubicBezTo>
                      <a:pt x="41" y="4"/>
                      <a:pt x="41" y="4"/>
                      <a:pt x="41" y="4"/>
                    </a:cubicBezTo>
                    <a:cubicBezTo>
                      <a:pt x="41" y="0"/>
                      <a:pt x="41" y="0"/>
                      <a:pt x="41" y="0"/>
                    </a:cubicBezTo>
                    <a:cubicBezTo>
                      <a:pt x="36" y="1"/>
                      <a:pt x="36" y="1"/>
                      <a:pt x="36" y="1"/>
                    </a:cubicBezTo>
                    <a:cubicBezTo>
                      <a:pt x="19" y="2"/>
                      <a:pt x="19" y="2"/>
                      <a:pt x="19" y="2"/>
                    </a:cubicBezTo>
                    <a:cubicBezTo>
                      <a:pt x="12" y="1"/>
                      <a:pt x="12" y="1"/>
                      <a:pt x="12" y="1"/>
                    </a:cubicBezTo>
                    <a:cubicBezTo>
                      <a:pt x="12" y="4"/>
                      <a:pt x="12" y="4"/>
                      <a:pt x="12" y="4"/>
                    </a:cubicBezTo>
                    <a:cubicBezTo>
                      <a:pt x="8" y="7"/>
                      <a:pt x="8" y="7"/>
                      <a:pt x="8" y="7"/>
                    </a:cubicBezTo>
                    <a:cubicBezTo>
                      <a:pt x="3" y="6"/>
                      <a:pt x="3" y="6"/>
                      <a:pt x="3" y="6"/>
                    </a:cubicBezTo>
                    <a:cubicBezTo>
                      <a:pt x="3" y="11"/>
                      <a:pt x="3" y="11"/>
                      <a:pt x="3" y="11"/>
                    </a:cubicBezTo>
                    <a:cubicBezTo>
                      <a:pt x="0" y="13"/>
                      <a:pt x="0" y="13"/>
                      <a:pt x="0" y="13"/>
                    </a:cubicBezTo>
                    <a:cubicBezTo>
                      <a:pt x="0" y="19"/>
                      <a:pt x="0" y="19"/>
                      <a:pt x="0" y="19"/>
                    </a:cubicBezTo>
                    <a:cubicBezTo>
                      <a:pt x="0" y="19"/>
                      <a:pt x="0" y="19"/>
                      <a:pt x="0" y="19"/>
                    </a:cubicBezTo>
                    <a:cubicBezTo>
                      <a:pt x="0" y="19"/>
                      <a:pt x="0" y="20"/>
                      <a:pt x="1" y="20"/>
                    </a:cubicBezTo>
                    <a:cubicBezTo>
                      <a:pt x="1" y="20"/>
                      <a:pt x="1" y="20"/>
                      <a:pt x="1" y="20"/>
                    </a:cubicBezTo>
                    <a:cubicBezTo>
                      <a:pt x="1" y="23"/>
                      <a:pt x="1" y="23"/>
                      <a:pt x="1" y="23"/>
                    </a:cubicBezTo>
                    <a:cubicBezTo>
                      <a:pt x="1" y="23"/>
                      <a:pt x="1" y="23"/>
                      <a:pt x="1" y="23"/>
                    </a:cubicBezTo>
                    <a:cubicBezTo>
                      <a:pt x="1" y="23"/>
                      <a:pt x="1" y="23"/>
                      <a:pt x="1" y="23"/>
                    </a:cubicBezTo>
                    <a:cubicBezTo>
                      <a:pt x="3" y="25"/>
                      <a:pt x="3" y="25"/>
                      <a:pt x="3" y="25"/>
                    </a:cubicBezTo>
                    <a:cubicBezTo>
                      <a:pt x="4" y="26"/>
                      <a:pt x="5" y="26"/>
                      <a:pt x="6" y="26"/>
                    </a:cubicBezTo>
                    <a:cubicBezTo>
                      <a:pt x="8" y="25"/>
                      <a:pt x="8" y="25"/>
                      <a:pt x="8" y="25"/>
                    </a:cubicBezTo>
                    <a:cubicBezTo>
                      <a:pt x="8" y="25"/>
                      <a:pt x="9" y="26"/>
                      <a:pt x="9" y="26"/>
                    </a:cubicBezTo>
                    <a:cubicBezTo>
                      <a:pt x="9" y="28"/>
                      <a:pt x="9" y="28"/>
                      <a:pt x="9" y="28"/>
                    </a:cubicBezTo>
                    <a:cubicBezTo>
                      <a:pt x="9" y="28"/>
                      <a:pt x="9" y="29"/>
                      <a:pt x="10" y="29"/>
                    </a:cubicBezTo>
                    <a:cubicBezTo>
                      <a:pt x="14" y="30"/>
                      <a:pt x="14" y="30"/>
                      <a:pt x="14" y="30"/>
                    </a:cubicBezTo>
                    <a:cubicBezTo>
                      <a:pt x="15" y="30"/>
                      <a:pt x="16" y="30"/>
                      <a:pt x="16" y="30"/>
                    </a:cubicBezTo>
                    <a:cubicBezTo>
                      <a:pt x="18" y="29"/>
                      <a:pt x="18" y="29"/>
                      <a:pt x="18" y="29"/>
                    </a:cubicBezTo>
                    <a:cubicBezTo>
                      <a:pt x="19" y="29"/>
                      <a:pt x="20" y="29"/>
                      <a:pt x="22" y="29"/>
                    </a:cubicBezTo>
                    <a:cubicBezTo>
                      <a:pt x="22" y="30"/>
                      <a:pt x="22" y="30"/>
                      <a:pt x="22" y="30"/>
                    </a:cubicBezTo>
                    <a:cubicBezTo>
                      <a:pt x="22" y="31"/>
                      <a:pt x="23" y="31"/>
                      <a:pt x="24" y="31"/>
                    </a:cubicBezTo>
                    <a:cubicBezTo>
                      <a:pt x="28" y="31"/>
                      <a:pt x="28" y="31"/>
                      <a:pt x="28" y="31"/>
                    </a:cubicBezTo>
                    <a:cubicBezTo>
                      <a:pt x="29" y="31"/>
                      <a:pt x="30" y="31"/>
                      <a:pt x="30" y="30"/>
                    </a:cubicBezTo>
                    <a:cubicBezTo>
                      <a:pt x="30" y="29"/>
                      <a:pt x="30" y="29"/>
                      <a:pt x="30" y="29"/>
                    </a:cubicBezTo>
                    <a:cubicBezTo>
                      <a:pt x="31" y="29"/>
                      <a:pt x="33" y="29"/>
                      <a:pt x="34" y="29"/>
                    </a:cubicBezTo>
                    <a:cubicBezTo>
                      <a:pt x="36" y="30"/>
                      <a:pt x="36" y="30"/>
                      <a:pt x="36" y="30"/>
                    </a:cubicBezTo>
                    <a:cubicBezTo>
                      <a:pt x="36" y="30"/>
                      <a:pt x="37" y="30"/>
                      <a:pt x="38" y="30"/>
                    </a:cubicBezTo>
                    <a:cubicBezTo>
                      <a:pt x="42" y="29"/>
                      <a:pt x="42" y="29"/>
                      <a:pt x="42" y="29"/>
                    </a:cubicBezTo>
                    <a:cubicBezTo>
                      <a:pt x="42"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3" y="25"/>
                      <a:pt x="44" y="25"/>
                      <a:pt x="44" y="25"/>
                    </a:cubicBezTo>
                    <a:cubicBezTo>
                      <a:pt x="46" y="26"/>
                      <a:pt x="46" y="26"/>
                      <a:pt x="46" y="26"/>
                    </a:cubicBezTo>
                    <a:cubicBezTo>
                      <a:pt x="47" y="26"/>
                      <a:pt x="48"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2" y="19"/>
                      <a:pt x="52" y="19"/>
                    </a:cubicBezTo>
                    <a:cubicBezTo>
                      <a:pt x="52" y="19"/>
                      <a:pt x="52" y="19"/>
                      <a:pt x="52" y="19"/>
                    </a:cubicBezTo>
                    <a:close/>
                    <a:moveTo>
                      <a:pt x="38" y="20"/>
                    </a:moveTo>
                    <a:cubicBezTo>
                      <a:pt x="35" y="22"/>
                      <a:pt x="31" y="21"/>
                      <a:pt x="27" y="21"/>
                    </a:cubicBezTo>
                    <a:cubicBezTo>
                      <a:pt x="19" y="21"/>
                      <a:pt x="12" y="22"/>
                      <a:pt x="12" y="18"/>
                    </a:cubicBezTo>
                    <a:cubicBezTo>
                      <a:pt x="13" y="16"/>
                      <a:pt x="14" y="15"/>
                      <a:pt x="15" y="14"/>
                    </a:cubicBezTo>
                    <a:cubicBezTo>
                      <a:pt x="18" y="12"/>
                      <a:pt x="22" y="10"/>
                      <a:pt x="26" y="10"/>
                    </a:cubicBezTo>
                    <a:cubicBezTo>
                      <a:pt x="33" y="10"/>
                      <a:pt x="39" y="13"/>
                      <a:pt x="40" y="18"/>
                    </a:cubicBezTo>
                    <a:cubicBezTo>
                      <a:pt x="40" y="19"/>
                      <a:pt x="39"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1" name="îṣ1ide"/>
              <p:cNvSpPr/>
              <p:nvPr/>
            </p:nvSpPr>
            <p:spPr bwMode="auto">
              <a:xfrm>
                <a:off x="6293908" y="4248832"/>
                <a:ext cx="397628" cy="214251"/>
              </a:xfrm>
              <a:custGeom>
                <a:avLst/>
                <a:gdLst>
                  <a:gd name="T0" fmla="*/ 52 w 52"/>
                  <a:gd name="T1" fmla="*/ 15 h 28"/>
                  <a:gd name="T2" fmla="*/ 48 w 52"/>
                  <a:gd name="T3" fmla="*/ 16 h 28"/>
                  <a:gd name="T4" fmla="*/ 50 w 52"/>
                  <a:gd name="T5" fmla="*/ 19 h 28"/>
                  <a:gd name="T6" fmla="*/ 49 w 52"/>
                  <a:gd name="T7" fmla="*/ 22 h 28"/>
                  <a:gd name="T8" fmla="*/ 44 w 52"/>
                  <a:gd name="T9" fmla="*/ 22 h 28"/>
                  <a:gd name="T10" fmla="*/ 42 w 52"/>
                  <a:gd name="T11" fmla="*/ 24 h 28"/>
                  <a:gd name="T12" fmla="*/ 38 w 52"/>
                  <a:gd name="T13" fmla="*/ 27 h 28"/>
                  <a:gd name="T14" fmla="*/ 34 w 52"/>
                  <a:gd name="T15" fmla="*/ 25 h 28"/>
                  <a:gd name="T16" fmla="*/ 30 w 52"/>
                  <a:gd name="T17" fmla="*/ 27 h 28"/>
                  <a:gd name="T18" fmla="*/ 24 w 52"/>
                  <a:gd name="T19" fmla="*/ 28 h 28"/>
                  <a:gd name="T20" fmla="*/ 22 w 52"/>
                  <a:gd name="T21" fmla="*/ 26 h 28"/>
                  <a:gd name="T22" fmla="*/ 16 w 52"/>
                  <a:gd name="T23" fmla="*/ 26 h 28"/>
                  <a:gd name="T24" fmla="*/ 10 w 52"/>
                  <a:gd name="T25" fmla="*/ 25 h 28"/>
                  <a:gd name="T26" fmla="*/ 11 w 52"/>
                  <a:gd name="T27" fmla="*/ 23 h 28"/>
                  <a:gd name="T28" fmla="*/ 6 w 52"/>
                  <a:gd name="T29" fmla="*/ 22 h 28"/>
                  <a:gd name="T30" fmla="*/ 1 w 52"/>
                  <a:gd name="T31" fmla="*/ 20 h 28"/>
                  <a:gd name="T32" fmla="*/ 5 w 52"/>
                  <a:gd name="T33" fmla="*/ 18 h 28"/>
                  <a:gd name="T34" fmla="*/ 1 w 52"/>
                  <a:gd name="T35" fmla="*/ 16 h 28"/>
                  <a:gd name="T36" fmla="*/ 0 w 52"/>
                  <a:gd name="T37" fmla="*/ 13 h 28"/>
                  <a:gd name="T38" fmla="*/ 4 w 52"/>
                  <a:gd name="T39" fmla="*/ 12 h 28"/>
                  <a:gd name="T40" fmla="*/ 4 w 52"/>
                  <a:gd name="T41" fmla="*/ 10 h 28"/>
                  <a:gd name="T42" fmla="*/ 6 w 52"/>
                  <a:gd name="T43" fmla="*/ 6 h 28"/>
                  <a:gd name="T44" fmla="*/ 10 w 52"/>
                  <a:gd name="T45" fmla="*/ 7 h 28"/>
                  <a:gd name="T46" fmla="*/ 12 w 52"/>
                  <a:gd name="T47" fmla="*/ 4 h 28"/>
                  <a:gd name="T48" fmla="*/ 16 w 52"/>
                  <a:gd name="T49" fmla="*/ 2 h 28"/>
                  <a:gd name="T50" fmla="*/ 19 w 52"/>
                  <a:gd name="T51" fmla="*/ 3 h 28"/>
                  <a:gd name="T52" fmla="*/ 23 w 52"/>
                  <a:gd name="T53" fmla="*/ 1 h 28"/>
                  <a:gd name="T54" fmla="*/ 28 w 52"/>
                  <a:gd name="T55" fmla="*/ 0 h 28"/>
                  <a:gd name="T56" fmla="*/ 30 w 52"/>
                  <a:gd name="T57" fmla="*/ 2 h 28"/>
                  <a:gd name="T58" fmla="*/ 34 w 52"/>
                  <a:gd name="T59" fmla="*/ 2 h 28"/>
                  <a:gd name="T60" fmla="*/ 40 w 52"/>
                  <a:gd name="T61" fmla="*/ 2 h 28"/>
                  <a:gd name="T62" fmla="*/ 40 w 52"/>
                  <a:gd name="T63" fmla="*/ 5 h 28"/>
                  <a:gd name="T64" fmla="*/ 44 w 52"/>
                  <a:gd name="T65" fmla="*/ 6 h 28"/>
                  <a:gd name="T66" fmla="*/ 49 w 52"/>
                  <a:gd name="T67" fmla="*/ 8 h 28"/>
                  <a:gd name="T68" fmla="*/ 46 w 52"/>
                  <a:gd name="T69" fmla="*/ 10 h 28"/>
                  <a:gd name="T70" fmla="*/ 50 w 52"/>
                  <a:gd name="T71" fmla="*/ 12 h 28"/>
                  <a:gd name="T72" fmla="*/ 38 w 52"/>
                  <a:gd name="T73" fmla="*/ 18 h 28"/>
                  <a:gd name="T74" fmla="*/ 26 w 52"/>
                  <a:gd name="T75" fmla="*/ 7 h 28"/>
                  <a:gd name="T76" fmla="*/ 12 w 52"/>
                  <a:gd name="T77" fmla="*/ 14 h 28"/>
                  <a:gd name="T78" fmla="*/ 38 w 52"/>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 h="28">
                    <a:moveTo>
                      <a:pt x="52" y="13"/>
                    </a:moveTo>
                    <a:cubicBezTo>
                      <a:pt x="52" y="15"/>
                      <a:pt x="52" y="15"/>
                      <a:pt x="52" y="15"/>
                    </a:cubicBezTo>
                    <a:cubicBezTo>
                      <a:pt x="52" y="15"/>
                      <a:pt x="52" y="16"/>
                      <a:pt x="51" y="16"/>
                    </a:cubicBezTo>
                    <a:cubicBezTo>
                      <a:pt x="48" y="16"/>
                      <a:pt x="48" y="16"/>
                      <a:pt x="48" y="16"/>
                    </a:cubicBezTo>
                    <a:cubicBezTo>
                      <a:pt x="48" y="17"/>
                      <a:pt x="48" y="17"/>
                      <a:pt x="47" y="18"/>
                    </a:cubicBezTo>
                    <a:cubicBezTo>
                      <a:pt x="50" y="19"/>
                      <a:pt x="50" y="19"/>
                      <a:pt x="50" y="19"/>
                    </a:cubicBezTo>
                    <a:cubicBezTo>
                      <a:pt x="51" y="19"/>
                      <a:pt x="51" y="19"/>
                      <a:pt x="51" y="20"/>
                    </a:cubicBezTo>
                    <a:cubicBezTo>
                      <a:pt x="49" y="22"/>
                      <a:pt x="49" y="22"/>
                      <a:pt x="49" y="22"/>
                    </a:cubicBezTo>
                    <a:cubicBezTo>
                      <a:pt x="48" y="22"/>
                      <a:pt x="47" y="22"/>
                      <a:pt x="46" y="22"/>
                    </a:cubicBezTo>
                    <a:cubicBezTo>
                      <a:pt x="44" y="22"/>
                      <a:pt x="44" y="22"/>
                      <a:pt x="44" y="22"/>
                    </a:cubicBezTo>
                    <a:cubicBezTo>
                      <a:pt x="43" y="22"/>
                      <a:pt x="42" y="23"/>
                      <a:pt x="41" y="23"/>
                    </a:cubicBezTo>
                    <a:cubicBezTo>
                      <a:pt x="42" y="24"/>
                      <a:pt x="42" y="24"/>
                      <a:pt x="42" y="24"/>
                    </a:cubicBezTo>
                    <a:cubicBezTo>
                      <a:pt x="43" y="25"/>
                      <a:pt x="43" y="25"/>
                      <a:pt x="42" y="25"/>
                    </a:cubicBezTo>
                    <a:cubicBezTo>
                      <a:pt x="38" y="27"/>
                      <a:pt x="38" y="27"/>
                      <a:pt x="38" y="27"/>
                    </a:cubicBezTo>
                    <a:cubicBezTo>
                      <a:pt x="37" y="27"/>
                      <a:pt x="36" y="27"/>
                      <a:pt x="36" y="26"/>
                    </a:cubicBezTo>
                    <a:cubicBezTo>
                      <a:pt x="34" y="25"/>
                      <a:pt x="34" y="25"/>
                      <a:pt x="34" y="25"/>
                    </a:cubicBezTo>
                    <a:cubicBezTo>
                      <a:pt x="33" y="25"/>
                      <a:pt x="31" y="26"/>
                      <a:pt x="30" y="26"/>
                    </a:cubicBezTo>
                    <a:cubicBezTo>
                      <a:pt x="30" y="27"/>
                      <a:pt x="30" y="27"/>
                      <a:pt x="30" y="27"/>
                    </a:cubicBezTo>
                    <a:cubicBezTo>
                      <a:pt x="30" y="27"/>
                      <a:pt x="29" y="28"/>
                      <a:pt x="28" y="28"/>
                    </a:cubicBezTo>
                    <a:cubicBezTo>
                      <a:pt x="24" y="28"/>
                      <a:pt x="24" y="28"/>
                      <a:pt x="24" y="28"/>
                    </a:cubicBezTo>
                    <a:cubicBezTo>
                      <a:pt x="23" y="28"/>
                      <a:pt x="22" y="27"/>
                      <a:pt x="22" y="27"/>
                    </a:cubicBezTo>
                    <a:cubicBezTo>
                      <a:pt x="22" y="26"/>
                      <a:pt x="22" y="26"/>
                      <a:pt x="22" y="26"/>
                    </a:cubicBezTo>
                    <a:cubicBezTo>
                      <a:pt x="20" y="26"/>
                      <a:pt x="19" y="25"/>
                      <a:pt x="18" y="25"/>
                    </a:cubicBezTo>
                    <a:cubicBezTo>
                      <a:pt x="16" y="26"/>
                      <a:pt x="16" y="26"/>
                      <a:pt x="16" y="26"/>
                    </a:cubicBezTo>
                    <a:cubicBezTo>
                      <a:pt x="16" y="27"/>
                      <a:pt x="15" y="27"/>
                      <a:pt x="14" y="27"/>
                    </a:cubicBezTo>
                    <a:cubicBezTo>
                      <a:pt x="10" y="25"/>
                      <a:pt x="10" y="25"/>
                      <a:pt x="10" y="25"/>
                    </a:cubicBezTo>
                    <a:cubicBezTo>
                      <a:pt x="9" y="25"/>
                      <a:pt x="9" y="25"/>
                      <a:pt x="9" y="24"/>
                    </a:cubicBezTo>
                    <a:cubicBezTo>
                      <a:pt x="11" y="23"/>
                      <a:pt x="11" y="23"/>
                      <a:pt x="11" y="23"/>
                    </a:cubicBezTo>
                    <a:cubicBezTo>
                      <a:pt x="10" y="23"/>
                      <a:pt x="9" y="22"/>
                      <a:pt x="8" y="22"/>
                    </a:cubicBezTo>
                    <a:cubicBezTo>
                      <a:pt x="6" y="22"/>
                      <a:pt x="6" y="22"/>
                      <a:pt x="6" y="22"/>
                    </a:cubicBezTo>
                    <a:cubicBezTo>
                      <a:pt x="5" y="23"/>
                      <a:pt x="4" y="22"/>
                      <a:pt x="3" y="22"/>
                    </a:cubicBezTo>
                    <a:cubicBezTo>
                      <a:pt x="1" y="20"/>
                      <a:pt x="1" y="20"/>
                      <a:pt x="1" y="20"/>
                    </a:cubicBezTo>
                    <a:cubicBezTo>
                      <a:pt x="1" y="20"/>
                      <a:pt x="1" y="19"/>
                      <a:pt x="2" y="19"/>
                    </a:cubicBezTo>
                    <a:cubicBezTo>
                      <a:pt x="5" y="18"/>
                      <a:pt x="5" y="18"/>
                      <a:pt x="5" y="18"/>
                    </a:cubicBezTo>
                    <a:cubicBezTo>
                      <a:pt x="4" y="18"/>
                      <a:pt x="4" y="17"/>
                      <a:pt x="4" y="16"/>
                    </a:cubicBezTo>
                    <a:cubicBezTo>
                      <a:pt x="1" y="16"/>
                      <a:pt x="1" y="16"/>
                      <a:pt x="1" y="16"/>
                    </a:cubicBezTo>
                    <a:cubicBezTo>
                      <a:pt x="0" y="16"/>
                      <a:pt x="0" y="16"/>
                      <a:pt x="0" y="15"/>
                    </a:cubicBezTo>
                    <a:cubicBezTo>
                      <a:pt x="0" y="13"/>
                      <a:pt x="0" y="13"/>
                      <a:pt x="0" y="13"/>
                    </a:cubicBezTo>
                    <a:cubicBezTo>
                      <a:pt x="0" y="13"/>
                      <a:pt x="1" y="12"/>
                      <a:pt x="2" y="12"/>
                    </a:cubicBezTo>
                    <a:cubicBezTo>
                      <a:pt x="4" y="12"/>
                      <a:pt x="4" y="12"/>
                      <a:pt x="4" y="12"/>
                    </a:cubicBezTo>
                    <a:cubicBezTo>
                      <a:pt x="5" y="12"/>
                      <a:pt x="5" y="11"/>
                      <a:pt x="6" y="10"/>
                    </a:cubicBezTo>
                    <a:cubicBezTo>
                      <a:pt x="4" y="10"/>
                      <a:pt x="4" y="10"/>
                      <a:pt x="4" y="10"/>
                    </a:cubicBezTo>
                    <a:cubicBezTo>
                      <a:pt x="3" y="9"/>
                      <a:pt x="3" y="9"/>
                      <a:pt x="4" y="8"/>
                    </a:cubicBezTo>
                    <a:cubicBezTo>
                      <a:pt x="6" y="6"/>
                      <a:pt x="6" y="6"/>
                      <a:pt x="6" y="6"/>
                    </a:cubicBezTo>
                    <a:cubicBezTo>
                      <a:pt x="6" y="6"/>
                      <a:pt x="7" y="6"/>
                      <a:pt x="8" y="6"/>
                    </a:cubicBezTo>
                    <a:cubicBezTo>
                      <a:pt x="10" y="7"/>
                      <a:pt x="10" y="7"/>
                      <a:pt x="10" y="7"/>
                    </a:cubicBezTo>
                    <a:cubicBezTo>
                      <a:pt x="11" y="6"/>
                      <a:pt x="12" y="6"/>
                      <a:pt x="13" y="5"/>
                    </a:cubicBezTo>
                    <a:cubicBezTo>
                      <a:pt x="12" y="4"/>
                      <a:pt x="12" y="4"/>
                      <a:pt x="12" y="4"/>
                    </a:cubicBezTo>
                    <a:cubicBezTo>
                      <a:pt x="11" y="4"/>
                      <a:pt x="12" y="3"/>
                      <a:pt x="13" y="3"/>
                    </a:cubicBezTo>
                    <a:cubicBezTo>
                      <a:pt x="16" y="2"/>
                      <a:pt x="16" y="2"/>
                      <a:pt x="16" y="2"/>
                    </a:cubicBezTo>
                    <a:cubicBezTo>
                      <a:pt x="17" y="1"/>
                      <a:pt x="18" y="2"/>
                      <a:pt x="18" y="2"/>
                    </a:cubicBezTo>
                    <a:cubicBezTo>
                      <a:pt x="19" y="3"/>
                      <a:pt x="19" y="3"/>
                      <a:pt x="19" y="3"/>
                    </a:cubicBezTo>
                    <a:cubicBezTo>
                      <a:pt x="20" y="3"/>
                      <a:pt x="22" y="3"/>
                      <a:pt x="23" y="2"/>
                    </a:cubicBezTo>
                    <a:cubicBezTo>
                      <a:pt x="23" y="1"/>
                      <a:pt x="23" y="1"/>
                      <a:pt x="23" y="1"/>
                    </a:cubicBezTo>
                    <a:cubicBezTo>
                      <a:pt x="23" y="1"/>
                      <a:pt x="24" y="0"/>
                      <a:pt x="24" y="0"/>
                    </a:cubicBezTo>
                    <a:cubicBezTo>
                      <a:pt x="28" y="0"/>
                      <a:pt x="28" y="0"/>
                      <a:pt x="28" y="0"/>
                    </a:cubicBezTo>
                    <a:cubicBezTo>
                      <a:pt x="29" y="0"/>
                      <a:pt x="30" y="1"/>
                      <a:pt x="30" y="1"/>
                    </a:cubicBezTo>
                    <a:cubicBezTo>
                      <a:pt x="30" y="2"/>
                      <a:pt x="30" y="2"/>
                      <a:pt x="30" y="2"/>
                    </a:cubicBezTo>
                    <a:cubicBezTo>
                      <a:pt x="31" y="2"/>
                      <a:pt x="32" y="3"/>
                      <a:pt x="33" y="3"/>
                    </a:cubicBezTo>
                    <a:cubicBezTo>
                      <a:pt x="34" y="2"/>
                      <a:pt x="34" y="2"/>
                      <a:pt x="34" y="2"/>
                    </a:cubicBezTo>
                    <a:cubicBezTo>
                      <a:pt x="35" y="1"/>
                      <a:pt x="36" y="1"/>
                      <a:pt x="36" y="1"/>
                    </a:cubicBezTo>
                    <a:cubicBezTo>
                      <a:pt x="40" y="2"/>
                      <a:pt x="40" y="2"/>
                      <a:pt x="40" y="2"/>
                    </a:cubicBezTo>
                    <a:cubicBezTo>
                      <a:pt x="41" y="3"/>
                      <a:pt x="41" y="3"/>
                      <a:pt x="41" y="4"/>
                    </a:cubicBezTo>
                    <a:cubicBezTo>
                      <a:pt x="40" y="5"/>
                      <a:pt x="40" y="5"/>
                      <a:pt x="40" y="5"/>
                    </a:cubicBezTo>
                    <a:cubicBezTo>
                      <a:pt x="41" y="5"/>
                      <a:pt x="42" y="6"/>
                      <a:pt x="42" y="6"/>
                    </a:cubicBezTo>
                    <a:cubicBezTo>
                      <a:pt x="44" y="6"/>
                      <a:pt x="44" y="6"/>
                      <a:pt x="44" y="6"/>
                    </a:cubicBezTo>
                    <a:cubicBezTo>
                      <a:pt x="45" y="5"/>
                      <a:pt x="46" y="5"/>
                      <a:pt x="46" y="6"/>
                    </a:cubicBezTo>
                    <a:cubicBezTo>
                      <a:pt x="49" y="8"/>
                      <a:pt x="49" y="8"/>
                      <a:pt x="49" y="8"/>
                    </a:cubicBezTo>
                    <a:cubicBezTo>
                      <a:pt x="49" y="8"/>
                      <a:pt x="49" y="9"/>
                      <a:pt x="48" y="9"/>
                    </a:cubicBezTo>
                    <a:cubicBezTo>
                      <a:pt x="46" y="10"/>
                      <a:pt x="46" y="10"/>
                      <a:pt x="46" y="10"/>
                    </a:cubicBezTo>
                    <a:cubicBezTo>
                      <a:pt x="47" y="10"/>
                      <a:pt x="47" y="11"/>
                      <a:pt x="48" y="12"/>
                    </a:cubicBezTo>
                    <a:cubicBezTo>
                      <a:pt x="50" y="12"/>
                      <a:pt x="50" y="12"/>
                      <a:pt x="50" y="12"/>
                    </a:cubicBezTo>
                    <a:cubicBezTo>
                      <a:pt x="51" y="12"/>
                      <a:pt x="52" y="12"/>
                      <a:pt x="52" y="13"/>
                    </a:cubicBezTo>
                    <a:close/>
                    <a:moveTo>
                      <a:pt x="38" y="18"/>
                    </a:moveTo>
                    <a:cubicBezTo>
                      <a:pt x="39" y="17"/>
                      <a:pt x="40" y="16"/>
                      <a:pt x="40" y="14"/>
                    </a:cubicBezTo>
                    <a:cubicBezTo>
                      <a:pt x="39" y="10"/>
                      <a:pt x="33" y="7"/>
                      <a:pt x="26" y="7"/>
                    </a:cubicBezTo>
                    <a:cubicBezTo>
                      <a:pt x="22" y="7"/>
                      <a:pt x="18" y="8"/>
                      <a:pt x="15" y="10"/>
                    </a:cubicBezTo>
                    <a:cubicBezTo>
                      <a:pt x="14" y="11"/>
                      <a:pt x="13" y="13"/>
                      <a:pt x="12" y="14"/>
                    </a:cubicBezTo>
                    <a:cubicBezTo>
                      <a:pt x="12" y="18"/>
                      <a:pt x="18" y="21"/>
                      <a:pt x="26" y="21"/>
                    </a:cubicBezTo>
                    <a:cubicBezTo>
                      <a:pt x="31" y="21"/>
                      <a:pt x="35"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2" name="iSḻîdé"/>
              <p:cNvSpPr/>
              <p:nvPr/>
            </p:nvSpPr>
            <p:spPr bwMode="auto">
              <a:xfrm>
                <a:off x="6416469" y="4318066"/>
                <a:ext cx="145018" cy="75783"/>
              </a:xfrm>
              <a:custGeom>
                <a:avLst/>
                <a:gdLst>
                  <a:gd name="T0" fmla="*/ 18 w 19"/>
                  <a:gd name="T1" fmla="*/ 8 h 10"/>
                  <a:gd name="T2" fmla="*/ 19 w 19"/>
                  <a:gd name="T3" fmla="*/ 5 h 10"/>
                  <a:gd name="T4" fmla="*/ 10 w 19"/>
                  <a:gd name="T5" fmla="*/ 0 h 10"/>
                  <a:gd name="T6" fmla="*/ 2 w 19"/>
                  <a:gd name="T7" fmla="*/ 2 h 10"/>
                  <a:gd name="T8" fmla="*/ 1 w 19"/>
                  <a:gd name="T9" fmla="*/ 5 h 10"/>
                  <a:gd name="T10" fmla="*/ 10 w 19"/>
                  <a:gd name="T11" fmla="*/ 10 h 10"/>
                  <a:gd name="T12" fmla="*/ 18 w 19"/>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9" h="10">
                    <a:moveTo>
                      <a:pt x="18" y="8"/>
                    </a:moveTo>
                    <a:cubicBezTo>
                      <a:pt x="19" y="7"/>
                      <a:pt x="19" y="6"/>
                      <a:pt x="19" y="5"/>
                    </a:cubicBezTo>
                    <a:cubicBezTo>
                      <a:pt x="19" y="2"/>
                      <a:pt x="15" y="0"/>
                      <a:pt x="10" y="0"/>
                    </a:cubicBezTo>
                    <a:cubicBezTo>
                      <a:pt x="7" y="0"/>
                      <a:pt x="4" y="1"/>
                      <a:pt x="2" y="2"/>
                    </a:cubicBezTo>
                    <a:cubicBezTo>
                      <a:pt x="1" y="3"/>
                      <a:pt x="1" y="4"/>
                      <a:pt x="1" y="5"/>
                    </a:cubicBezTo>
                    <a:cubicBezTo>
                      <a:pt x="0" y="8"/>
                      <a:pt x="4" y="10"/>
                      <a:pt x="10" y="10"/>
                    </a:cubicBezTo>
                    <a:cubicBezTo>
                      <a:pt x="13" y="10"/>
                      <a:pt x="16" y="9"/>
                      <a:pt x="18"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grpSp>
          <p:nvGrpSpPr>
            <p:cNvPr id="175" name="组合 174"/>
            <p:cNvGrpSpPr/>
            <p:nvPr/>
          </p:nvGrpSpPr>
          <p:grpSpPr>
            <a:xfrm>
              <a:off x="492622" y="2987274"/>
              <a:ext cx="1414621" cy="2169647"/>
              <a:chOff x="5093539" y="2339281"/>
              <a:chExt cx="1414621" cy="2169647"/>
            </a:xfrm>
          </p:grpSpPr>
          <p:sp>
            <p:nvSpPr>
              <p:cNvPr id="176" name="íṥļiḓé"/>
              <p:cNvSpPr/>
              <p:nvPr/>
            </p:nvSpPr>
            <p:spPr bwMode="auto">
              <a:xfrm>
                <a:off x="6049718" y="3630404"/>
                <a:ext cx="458442" cy="733506"/>
              </a:xfrm>
              <a:custGeom>
                <a:avLst/>
                <a:gdLst>
                  <a:gd name="T0" fmla="*/ 0 w 60"/>
                  <a:gd name="T1" fmla="*/ 96 h 96"/>
                  <a:gd name="T2" fmla="*/ 33 w 60"/>
                  <a:gd name="T3" fmla="*/ 81 h 96"/>
                  <a:gd name="T4" fmla="*/ 59 w 60"/>
                  <a:gd name="T5" fmla="*/ 55 h 96"/>
                  <a:gd name="T6" fmla="*/ 54 w 60"/>
                  <a:gd name="T7" fmla="*/ 2 h 96"/>
                  <a:gd name="T8" fmla="*/ 23 w 60"/>
                  <a:gd name="T9" fmla="*/ 0 h 96"/>
                  <a:gd name="T10" fmla="*/ 33 w 60"/>
                  <a:gd name="T11" fmla="*/ 42 h 96"/>
                  <a:gd name="T12" fmla="*/ 3 w 60"/>
                  <a:gd name="T13" fmla="*/ 68 h 96"/>
                  <a:gd name="T14" fmla="*/ 0 w 60"/>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6">
                    <a:moveTo>
                      <a:pt x="0" y="96"/>
                    </a:moveTo>
                    <a:cubicBezTo>
                      <a:pt x="0" y="96"/>
                      <a:pt x="30" y="83"/>
                      <a:pt x="33" y="81"/>
                    </a:cubicBezTo>
                    <a:cubicBezTo>
                      <a:pt x="47" y="77"/>
                      <a:pt x="60" y="67"/>
                      <a:pt x="59" y="55"/>
                    </a:cubicBezTo>
                    <a:cubicBezTo>
                      <a:pt x="57" y="20"/>
                      <a:pt x="54" y="2"/>
                      <a:pt x="54" y="2"/>
                    </a:cubicBezTo>
                    <a:cubicBezTo>
                      <a:pt x="23" y="0"/>
                      <a:pt x="23" y="0"/>
                      <a:pt x="23" y="0"/>
                    </a:cubicBezTo>
                    <a:cubicBezTo>
                      <a:pt x="23" y="0"/>
                      <a:pt x="20" y="13"/>
                      <a:pt x="33" y="42"/>
                    </a:cubicBezTo>
                    <a:cubicBezTo>
                      <a:pt x="40" y="58"/>
                      <a:pt x="3" y="68"/>
                      <a:pt x="3" y="68"/>
                    </a:cubicBezTo>
                    <a:lnTo>
                      <a:pt x="0" y="96"/>
                    </a:ln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nvGrpSpPr>
              <p:cNvPr id="177" name="组合 176"/>
              <p:cNvGrpSpPr/>
              <p:nvPr/>
            </p:nvGrpSpPr>
            <p:grpSpPr>
              <a:xfrm>
                <a:off x="5093539" y="2339281"/>
                <a:ext cx="1368778" cy="2169647"/>
                <a:chOff x="5093539" y="2339281"/>
                <a:chExt cx="1368778" cy="2169647"/>
              </a:xfrm>
            </p:grpSpPr>
            <p:sp>
              <p:nvSpPr>
                <p:cNvPr id="178" name="is1idè"/>
                <p:cNvSpPr/>
                <p:nvPr/>
              </p:nvSpPr>
              <p:spPr bwMode="auto">
                <a:xfrm>
                  <a:off x="5476195" y="2996069"/>
                  <a:ext cx="626849" cy="481832"/>
                </a:xfrm>
                <a:custGeom>
                  <a:avLst/>
                  <a:gdLst>
                    <a:gd name="T0" fmla="*/ 82 w 82"/>
                    <a:gd name="T1" fmla="*/ 27 h 63"/>
                    <a:gd name="T2" fmla="*/ 56 w 82"/>
                    <a:gd name="T3" fmla="*/ 8 h 63"/>
                    <a:gd name="T4" fmla="*/ 41 w 82"/>
                    <a:gd name="T5" fmla="*/ 5 h 63"/>
                    <a:gd name="T6" fmla="*/ 41 w 82"/>
                    <a:gd name="T7" fmla="*/ 5 h 63"/>
                    <a:gd name="T8" fmla="*/ 27 w 82"/>
                    <a:gd name="T9" fmla="*/ 8 h 63"/>
                    <a:gd name="T10" fmla="*/ 0 w 82"/>
                    <a:gd name="T11" fmla="*/ 27 h 63"/>
                    <a:gd name="T12" fmla="*/ 41 w 82"/>
                    <a:gd name="T13" fmla="*/ 63 h 63"/>
                    <a:gd name="T14" fmla="*/ 41 w 82"/>
                    <a:gd name="T15" fmla="*/ 63 h 63"/>
                    <a:gd name="T16" fmla="*/ 42 w 82"/>
                    <a:gd name="T17" fmla="*/ 63 h 63"/>
                    <a:gd name="T18" fmla="*/ 42 w 82"/>
                    <a:gd name="T19" fmla="*/ 63 h 63"/>
                    <a:gd name="T20" fmla="*/ 42 w 82"/>
                    <a:gd name="T21" fmla="*/ 63 h 63"/>
                    <a:gd name="T22" fmla="*/ 82 w 82"/>
                    <a:gd name="T23"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63">
                      <a:moveTo>
                        <a:pt x="82" y="27"/>
                      </a:moveTo>
                      <a:cubicBezTo>
                        <a:pt x="82" y="27"/>
                        <a:pt x="57" y="16"/>
                        <a:pt x="56" y="8"/>
                      </a:cubicBezTo>
                      <a:cubicBezTo>
                        <a:pt x="54" y="0"/>
                        <a:pt x="41" y="5"/>
                        <a:pt x="41" y="5"/>
                      </a:cubicBezTo>
                      <a:cubicBezTo>
                        <a:pt x="41" y="5"/>
                        <a:pt x="41" y="5"/>
                        <a:pt x="41" y="5"/>
                      </a:cubicBezTo>
                      <a:cubicBezTo>
                        <a:pt x="41" y="5"/>
                        <a:pt x="28" y="0"/>
                        <a:pt x="27" y="8"/>
                      </a:cubicBezTo>
                      <a:cubicBezTo>
                        <a:pt x="25" y="16"/>
                        <a:pt x="0" y="27"/>
                        <a:pt x="0" y="27"/>
                      </a:cubicBezTo>
                      <a:cubicBezTo>
                        <a:pt x="5" y="34"/>
                        <a:pt x="39" y="63"/>
                        <a:pt x="41" y="63"/>
                      </a:cubicBezTo>
                      <a:cubicBezTo>
                        <a:pt x="41" y="63"/>
                        <a:pt x="41" y="63"/>
                        <a:pt x="41" y="63"/>
                      </a:cubicBezTo>
                      <a:cubicBezTo>
                        <a:pt x="42" y="63"/>
                        <a:pt x="42" y="63"/>
                        <a:pt x="42" y="63"/>
                      </a:cubicBezTo>
                      <a:cubicBezTo>
                        <a:pt x="42" y="63"/>
                        <a:pt x="42" y="63"/>
                        <a:pt x="42" y="63"/>
                      </a:cubicBezTo>
                      <a:cubicBezTo>
                        <a:pt x="42" y="63"/>
                        <a:pt x="42" y="63"/>
                        <a:pt x="42" y="63"/>
                      </a:cubicBezTo>
                      <a:cubicBezTo>
                        <a:pt x="45" y="63"/>
                        <a:pt x="77" y="34"/>
                        <a:pt x="82" y="27"/>
                      </a:cubicBez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79" name="iSľïdè"/>
                <p:cNvSpPr/>
                <p:nvPr/>
              </p:nvSpPr>
              <p:spPr bwMode="auto">
                <a:xfrm>
                  <a:off x="5116927" y="3186930"/>
                  <a:ext cx="1345386" cy="641818"/>
                </a:xfrm>
                <a:custGeom>
                  <a:avLst/>
                  <a:gdLst>
                    <a:gd name="T0" fmla="*/ 176 w 176"/>
                    <a:gd name="T1" fmla="*/ 72 h 84"/>
                    <a:gd name="T2" fmla="*/ 176 w 176"/>
                    <a:gd name="T3" fmla="*/ 69 h 84"/>
                    <a:gd name="T4" fmla="*/ 161 w 176"/>
                    <a:gd name="T5" fmla="*/ 21 h 84"/>
                    <a:gd name="T6" fmla="*/ 128 w 176"/>
                    <a:gd name="T7" fmla="*/ 0 h 84"/>
                    <a:gd name="T8" fmla="*/ 88 w 176"/>
                    <a:gd name="T9" fmla="*/ 21 h 84"/>
                    <a:gd name="T10" fmla="*/ 48 w 176"/>
                    <a:gd name="T11" fmla="*/ 0 h 84"/>
                    <a:gd name="T12" fmla="*/ 15 w 176"/>
                    <a:gd name="T13" fmla="*/ 21 h 84"/>
                    <a:gd name="T14" fmla="*/ 0 w 176"/>
                    <a:gd name="T15" fmla="*/ 69 h 84"/>
                    <a:gd name="T16" fmla="*/ 0 w 176"/>
                    <a:gd name="T17" fmla="*/ 72 h 84"/>
                    <a:gd name="T18" fmla="*/ 30 w 176"/>
                    <a:gd name="T19" fmla="*/ 72 h 84"/>
                    <a:gd name="T20" fmla="*/ 29 w 176"/>
                    <a:gd name="T21" fmla="*/ 71 h 84"/>
                    <a:gd name="T22" fmla="*/ 31 w 176"/>
                    <a:gd name="T23" fmla="*/ 83 h 84"/>
                    <a:gd name="T24" fmla="*/ 145 w 176"/>
                    <a:gd name="T25" fmla="*/ 84 h 84"/>
                    <a:gd name="T26" fmla="*/ 148 w 176"/>
                    <a:gd name="T27" fmla="*/ 72 h 84"/>
                    <a:gd name="T28" fmla="*/ 176 w 176"/>
                    <a:gd name="T29"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84">
                      <a:moveTo>
                        <a:pt x="176" y="72"/>
                      </a:moveTo>
                      <a:cubicBezTo>
                        <a:pt x="176" y="71"/>
                        <a:pt x="176" y="70"/>
                        <a:pt x="176" y="69"/>
                      </a:cubicBezTo>
                      <a:cubicBezTo>
                        <a:pt x="173" y="39"/>
                        <a:pt x="172" y="34"/>
                        <a:pt x="161" y="21"/>
                      </a:cubicBezTo>
                      <a:cubicBezTo>
                        <a:pt x="150" y="8"/>
                        <a:pt x="128" y="0"/>
                        <a:pt x="128" y="0"/>
                      </a:cubicBezTo>
                      <a:cubicBezTo>
                        <a:pt x="128" y="0"/>
                        <a:pt x="117" y="21"/>
                        <a:pt x="88" y="21"/>
                      </a:cubicBezTo>
                      <a:cubicBezTo>
                        <a:pt x="59" y="21"/>
                        <a:pt x="48" y="0"/>
                        <a:pt x="48" y="0"/>
                      </a:cubicBezTo>
                      <a:cubicBezTo>
                        <a:pt x="48" y="0"/>
                        <a:pt x="26" y="8"/>
                        <a:pt x="15" y="21"/>
                      </a:cubicBezTo>
                      <a:cubicBezTo>
                        <a:pt x="4" y="34"/>
                        <a:pt x="3" y="39"/>
                        <a:pt x="0" y="69"/>
                      </a:cubicBezTo>
                      <a:cubicBezTo>
                        <a:pt x="0" y="70"/>
                        <a:pt x="0" y="71"/>
                        <a:pt x="0" y="72"/>
                      </a:cubicBezTo>
                      <a:cubicBezTo>
                        <a:pt x="30" y="72"/>
                        <a:pt x="30" y="72"/>
                        <a:pt x="30" y="72"/>
                      </a:cubicBezTo>
                      <a:cubicBezTo>
                        <a:pt x="29" y="71"/>
                        <a:pt x="29" y="71"/>
                        <a:pt x="29" y="71"/>
                      </a:cubicBezTo>
                      <a:cubicBezTo>
                        <a:pt x="31" y="83"/>
                        <a:pt x="31" y="83"/>
                        <a:pt x="31" y="83"/>
                      </a:cubicBezTo>
                      <a:cubicBezTo>
                        <a:pt x="145" y="84"/>
                        <a:pt x="145" y="84"/>
                        <a:pt x="145" y="84"/>
                      </a:cubicBezTo>
                      <a:cubicBezTo>
                        <a:pt x="148" y="72"/>
                        <a:pt x="148" y="72"/>
                        <a:pt x="148" y="72"/>
                      </a:cubicBezTo>
                      <a:lnTo>
                        <a:pt x="176" y="72"/>
                      </a:lnTo>
                      <a:close/>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0" name="íṩ1îḓé"/>
                <p:cNvSpPr/>
                <p:nvPr/>
              </p:nvSpPr>
              <p:spPr bwMode="auto">
                <a:xfrm>
                  <a:off x="5797104" y="3186930"/>
                  <a:ext cx="665208" cy="641818"/>
                </a:xfrm>
                <a:custGeom>
                  <a:avLst/>
                  <a:gdLst>
                    <a:gd name="T0" fmla="*/ 87 w 87"/>
                    <a:gd name="T1" fmla="*/ 69 h 84"/>
                    <a:gd name="T2" fmla="*/ 72 w 87"/>
                    <a:gd name="T3" fmla="*/ 21 h 84"/>
                    <a:gd name="T4" fmla="*/ 39 w 87"/>
                    <a:gd name="T5" fmla="*/ 0 h 84"/>
                    <a:gd name="T6" fmla="*/ 0 w 87"/>
                    <a:gd name="T7" fmla="*/ 21 h 84"/>
                    <a:gd name="T8" fmla="*/ 0 w 87"/>
                    <a:gd name="T9" fmla="*/ 83 h 84"/>
                    <a:gd name="T10" fmla="*/ 56 w 87"/>
                    <a:gd name="T11" fmla="*/ 84 h 84"/>
                    <a:gd name="T12" fmla="*/ 59 w 87"/>
                    <a:gd name="T13" fmla="*/ 72 h 84"/>
                    <a:gd name="T14" fmla="*/ 87 w 87"/>
                    <a:gd name="T15" fmla="*/ 72 h 84"/>
                    <a:gd name="T16" fmla="*/ 87 w 87"/>
                    <a:gd name="T17" fmla="*/ 6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4">
                      <a:moveTo>
                        <a:pt x="87" y="69"/>
                      </a:moveTo>
                      <a:cubicBezTo>
                        <a:pt x="84" y="39"/>
                        <a:pt x="83" y="34"/>
                        <a:pt x="72" y="21"/>
                      </a:cubicBezTo>
                      <a:cubicBezTo>
                        <a:pt x="61" y="8"/>
                        <a:pt x="39" y="0"/>
                        <a:pt x="39" y="0"/>
                      </a:cubicBezTo>
                      <a:cubicBezTo>
                        <a:pt x="39" y="0"/>
                        <a:pt x="28" y="21"/>
                        <a:pt x="0" y="21"/>
                      </a:cubicBezTo>
                      <a:cubicBezTo>
                        <a:pt x="0" y="83"/>
                        <a:pt x="0" y="83"/>
                        <a:pt x="0" y="83"/>
                      </a:cubicBezTo>
                      <a:cubicBezTo>
                        <a:pt x="56" y="84"/>
                        <a:pt x="56" y="84"/>
                        <a:pt x="56" y="84"/>
                      </a:cubicBezTo>
                      <a:cubicBezTo>
                        <a:pt x="59" y="72"/>
                        <a:pt x="59" y="72"/>
                        <a:pt x="59" y="72"/>
                      </a:cubicBezTo>
                      <a:cubicBezTo>
                        <a:pt x="87" y="72"/>
                        <a:pt x="87" y="72"/>
                        <a:pt x="87" y="72"/>
                      </a:cubicBezTo>
                      <a:cubicBezTo>
                        <a:pt x="87" y="71"/>
                        <a:pt x="87" y="70"/>
                        <a:pt x="87" y="69"/>
                      </a:cubicBezTo>
                      <a:close/>
                    </a:path>
                  </a:pathLst>
                </a:custGeom>
                <a:solidFill>
                  <a:srgbClr val="FF8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1" name="îṧ1ïďé"/>
                <p:cNvSpPr/>
                <p:nvPr/>
              </p:nvSpPr>
              <p:spPr bwMode="auto">
                <a:xfrm>
                  <a:off x="5705416" y="3072787"/>
                  <a:ext cx="245126" cy="114143"/>
                </a:xfrm>
                <a:custGeom>
                  <a:avLst/>
                  <a:gdLst>
                    <a:gd name="T0" fmla="*/ 32 w 32"/>
                    <a:gd name="T1" fmla="*/ 8 h 15"/>
                    <a:gd name="T2" fmla="*/ 27 w 32"/>
                    <a:gd name="T3" fmla="*/ 2 h 15"/>
                    <a:gd name="T4" fmla="*/ 0 w 32"/>
                    <a:gd name="T5" fmla="*/ 6 h 15"/>
                    <a:gd name="T6" fmla="*/ 14 w 32"/>
                    <a:gd name="T7" fmla="*/ 14 h 15"/>
                    <a:gd name="T8" fmla="*/ 32 w 32"/>
                    <a:gd name="T9" fmla="*/ 8 h 15"/>
                  </a:gdLst>
                  <a:ahLst/>
                  <a:cxnLst>
                    <a:cxn ang="0">
                      <a:pos x="T0" y="T1"/>
                    </a:cxn>
                    <a:cxn ang="0">
                      <a:pos x="T2" y="T3"/>
                    </a:cxn>
                    <a:cxn ang="0">
                      <a:pos x="T4" y="T5"/>
                    </a:cxn>
                    <a:cxn ang="0">
                      <a:pos x="T6" y="T7"/>
                    </a:cxn>
                    <a:cxn ang="0">
                      <a:pos x="T8" y="T9"/>
                    </a:cxn>
                  </a:cxnLst>
                  <a:rect l="0" t="0" r="r" b="b"/>
                  <a:pathLst>
                    <a:path w="32" h="15">
                      <a:moveTo>
                        <a:pt x="32" y="8"/>
                      </a:moveTo>
                      <a:cubicBezTo>
                        <a:pt x="32" y="8"/>
                        <a:pt x="29" y="5"/>
                        <a:pt x="27" y="2"/>
                      </a:cubicBezTo>
                      <a:cubicBezTo>
                        <a:pt x="26" y="0"/>
                        <a:pt x="0" y="6"/>
                        <a:pt x="0" y="6"/>
                      </a:cubicBezTo>
                      <a:cubicBezTo>
                        <a:pt x="0" y="6"/>
                        <a:pt x="8" y="15"/>
                        <a:pt x="14" y="14"/>
                      </a:cubicBezTo>
                      <a:cubicBezTo>
                        <a:pt x="27" y="12"/>
                        <a:pt x="32" y="8"/>
                        <a:pt x="32" y="8"/>
                      </a:cubicBezTo>
                      <a:close/>
                    </a:path>
                  </a:pathLst>
                </a:custGeom>
                <a:solidFill>
                  <a:srgbClr val="CFA848"/>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2" name="îŝ1îḓè"/>
                <p:cNvSpPr/>
                <p:nvPr/>
              </p:nvSpPr>
              <p:spPr bwMode="auto">
                <a:xfrm>
                  <a:off x="5774650" y="3806294"/>
                  <a:ext cx="473411" cy="442537"/>
                </a:xfrm>
                <a:custGeom>
                  <a:avLst/>
                  <a:gdLst>
                    <a:gd name="T0" fmla="*/ 474 w 506"/>
                    <a:gd name="T1" fmla="*/ 473 h 473"/>
                    <a:gd name="T2" fmla="*/ 506 w 506"/>
                    <a:gd name="T3" fmla="*/ 0 h 473"/>
                    <a:gd name="T4" fmla="*/ 8 w 506"/>
                    <a:gd name="T5" fmla="*/ 0 h 473"/>
                    <a:gd name="T6" fmla="*/ 0 w 506"/>
                    <a:gd name="T7" fmla="*/ 473 h 473"/>
                    <a:gd name="T8" fmla="*/ 474 w 506"/>
                    <a:gd name="T9" fmla="*/ 473 h 473"/>
                  </a:gdLst>
                  <a:ahLst/>
                  <a:cxnLst>
                    <a:cxn ang="0">
                      <a:pos x="T0" y="T1"/>
                    </a:cxn>
                    <a:cxn ang="0">
                      <a:pos x="T2" y="T3"/>
                    </a:cxn>
                    <a:cxn ang="0">
                      <a:pos x="T4" y="T5"/>
                    </a:cxn>
                    <a:cxn ang="0">
                      <a:pos x="T6" y="T7"/>
                    </a:cxn>
                    <a:cxn ang="0">
                      <a:pos x="T8" y="T9"/>
                    </a:cxn>
                  </a:cxnLst>
                  <a:rect l="0" t="0" r="r" b="b"/>
                  <a:pathLst>
                    <a:path w="506" h="473">
                      <a:moveTo>
                        <a:pt x="474" y="473"/>
                      </a:moveTo>
                      <a:lnTo>
                        <a:pt x="506" y="0"/>
                      </a:lnTo>
                      <a:lnTo>
                        <a:pt x="8" y="0"/>
                      </a:lnTo>
                      <a:lnTo>
                        <a:pt x="0" y="473"/>
                      </a:lnTo>
                      <a:lnTo>
                        <a:pt x="474" y="473"/>
                      </a:lnTo>
                      <a:close/>
                    </a:path>
                  </a:pathLst>
                </a:custGeom>
                <a:solidFill>
                  <a:srgbClr val="24518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3" name="íṧḻîde"/>
                <p:cNvSpPr/>
                <p:nvPr/>
              </p:nvSpPr>
              <p:spPr bwMode="auto">
                <a:xfrm>
                  <a:off x="5338663" y="3806294"/>
                  <a:ext cx="458442" cy="442537"/>
                </a:xfrm>
                <a:custGeom>
                  <a:avLst/>
                  <a:gdLst>
                    <a:gd name="T0" fmla="*/ 490 w 490"/>
                    <a:gd name="T1" fmla="*/ 473 h 473"/>
                    <a:gd name="T2" fmla="*/ 490 w 490"/>
                    <a:gd name="T3" fmla="*/ 0 h 473"/>
                    <a:gd name="T4" fmla="*/ 0 w 490"/>
                    <a:gd name="T5" fmla="*/ 0 h 473"/>
                    <a:gd name="T6" fmla="*/ 24 w 490"/>
                    <a:gd name="T7" fmla="*/ 473 h 473"/>
                    <a:gd name="T8" fmla="*/ 490 w 490"/>
                    <a:gd name="T9" fmla="*/ 473 h 473"/>
                  </a:gdLst>
                  <a:ahLst/>
                  <a:cxnLst>
                    <a:cxn ang="0">
                      <a:pos x="T0" y="T1"/>
                    </a:cxn>
                    <a:cxn ang="0">
                      <a:pos x="T2" y="T3"/>
                    </a:cxn>
                    <a:cxn ang="0">
                      <a:pos x="T4" y="T5"/>
                    </a:cxn>
                    <a:cxn ang="0">
                      <a:pos x="T6" y="T7"/>
                    </a:cxn>
                    <a:cxn ang="0">
                      <a:pos x="T8" y="T9"/>
                    </a:cxn>
                  </a:cxnLst>
                  <a:rect l="0" t="0" r="r" b="b"/>
                  <a:pathLst>
                    <a:path w="490" h="473">
                      <a:moveTo>
                        <a:pt x="490" y="473"/>
                      </a:moveTo>
                      <a:lnTo>
                        <a:pt x="490" y="0"/>
                      </a:lnTo>
                      <a:lnTo>
                        <a:pt x="0" y="0"/>
                      </a:lnTo>
                      <a:lnTo>
                        <a:pt x="24" y="473"/>
                      </a:lnTo>
                      <a:lnTo>
                        <a:pt x="490" y="473"/>
                      </a:lnTo>
                      <a:close/>
                    </a:path>
                  </a:pathLst>
                </a:custGeom>
                <a:solidFill>
                  <a:srgbClr val="295A9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4" name="iṧľîḋê"/>
                <p:cNvSpPr/>
                <p:nvPr/>
              </p:nvSpPr>
              <p:spPr bwMode="auto">
                <a:xfrm>
                  <a:off x="5507070" y="2683580"/>
                  <a:ext cx="282550" cy="480896"/>
                </a:xfrm>
                <a:custGeom>
                  <a:avLst/>
                  <a:gdLst>
                    <a:gd name="T0" fmla="*/ 37 w 37"/>
                    <a:gd name="T1" fmla="*/ 63 h 63"/>
                    <a:gd name="T2" fmla="*/ 7 w 37"/>
                    <a:gd name="T3" fmla="*/ 39 h 63"/>
                    <a:gd name="T4" fmla="*/ 3 w 37"/>
                    <a:gd name="T5" fmla="*/ 0 h 63"/>
                    <a:gd name="T6" fmla="*/ 37 w 37"/>
                    <a:gd name="T7" fmla="*/ 0 h 63"/>
                    <a:gd name="T8" fmla="*/ 37 w 37"/>
                    <a:gd name="T9" fmla="*/ 63 h 63"/>
                  </a:gdLst>
                  <a:ahLst/>
                  <a:cxnLst>
                    <a:cxn ang="0">
                      <a:pos x="T0" y="T1"/>
                    </a:cxn>
                    <a:cxn ang="0">
                      <a:pos x="T2" y="T3"/>
                    </a:cxn>
                    <a:cxn ang="0">
                      <a:pos x="T4" y="T5"/>
                    </a:cxn>
                    <a:cxn ang="0">
                      <a:pos x="T6" y="T7"/>
                    </a:cxn>
                    <a:cxn ang="0">
                      <a:pos x="T8" y="T9"/>
                    </a:cxn>
                  </a:cxnLst>
                  <a:rect l="0" t="0" r="r" b="b"/>
                  <a:pathLst>
                    <a:path w="37" h="63">
                      <a:moveTo>
                        <a:pt x="37" y="63"/>
                      </a:moveTo>
                      <a:cubicBezTo>
                        <a:pt x="37" y="63"/>
                        <a:pt x="14" y="58"/>
                        <a:pt x="7" y="39"/>
                      </a:cubicBezTo>
                      <a:cubicBezTo>
                        <a:pt x="0" y="21"/>
                        <a:pt x="3" y="0"/>
                        <a:pt x="3" y="0"/>
                      </a:cubicBezTo>
                      <a:cubicBezTo>
                        <a:pt x="37" y="0"/>
                        <a:pt x="37" y="0"/>
                        <a:pt x="37" y="0"/>
                      </a:cubicBezTo>
                      <a:lnTo>
                        <a:pt x="37" y="63"/>
                      </a:lnTo>
                      <a:close/>
                    </a:path>
                  </a:pathLst>
                </a:custGeom>
                <a:solidFill>
                  <a:srgbClr val="E6D59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5" name="íṩḷíḍe"/>
                <p:cNvSpPr/>
                <p:nvPr/>
              </p:nvSpPr>
              <p:spPr bwMode="auto">
                <a:xfrm>
                  <a:off x="5789620" y="2683580"/>
                  <a:ext cx="282550" cy="480896"/>
                </a:xfrm>
                <a:custGeom>
                  <a:avLst/>
                  <a:gdLst>
                    <a:gd name="T0" fmla="*/ 0 w 37"/>
                    <a:gd name="T1" fmla="*/ 63 h 63"/>
                    <a:gd name="T2" fmla="*/ 31 w 37"/>
                    <a:gd name="T3" fmla="*/ 39 h 63"/>
                    <a:gd name="T4" fmla="*/ 34 w 37"/>
                    <a:gd name="T5" fmla="*/ 0 h 63"/>
                    <a:gd name="T6" fmla="*/ 0 w 37"/>
                    <a:gd name="T7" fmla="*/ 0 h 63"/>
                    <a:gd name="T8" fmla="*/ 0 w 37"/>
                    <a:gd name="T9" fmla="*/ 63 h 63"/>
                  </a:gdLst>
                  <a:ahLst/>
                  <a:cxnLst>
                    <a:cxn ang="0">
                      <a:pos x="T0" y="T1"/>
                    </a:cxn>
                    <a:cxn ang="0">
                      <a:pos x="T2" y="T3"/>
                    </a:cxn>
                    <a:cxn ang="0">
                      <a:pos x="T4" y="T5"/>
                    </a:cxn>
                    <a:cxn ang="0">
                      <a:pos x="T6" y="T7"/>
                    </a:cxn>
                    <a:cxn ang="0">
                      <a:pos x="T8" y="T9"/>
                    </a:cxn>
                  </a:cxnLst>
                  <a:rect l="0" t="0" r="r" b="b"/>
                  <a:pathLst>
                    <a:path w="37" h="63">
                      <a:moveTo>
                        <a:pt x="0" y="63"/>
                      </a:moveTo>
                      <a:cubicBezTo>
                        <a:pt x="0" y="63"/>
                        <a:pt x="24" y="58"/>
                        <a:pt x="31" y="39"/>
                      </a:cubicBezTo>
                      <a:cubicBezTo>
                        <a:pt x="37" y="21"/>
                        <a:pt x="34" y="0"/>
                        <a:pt x="34" y="0"/>
                      </a:cubicBezTo>
                      <a:cubicBezTo>
                        <a:pt x="0" y="0"/>
                        <a:pt x="0" y="0"/>
                        <a:pt x="0" y="0"/>
                      </a:cubicBezTo>
                      <a:lnTo>
                        <a:pt x="0" y="63"/>
                      </a:ln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6" name="ïṥľîḍè"/>
                <p:cNvSpPr/>
                <p:nvPr/>
              </p:nvSpPr>
              <p:spPr bwMode="auto">
                <a:xfrm>
                  <a:off x="5452805" y="2339281"/>
                  <a:ext cx="681113" cy="397628"/>
                </a:xfrm>
                <a:custGeom>
                  <a:avLst/>
                  <a:gdLst>
                    <a:gd name="T0" fmla="*/ 87 w 89"/>
                    <a:gd name="T1" fmla="*/ 41 h 52"/>
                    <a:gd name="T2" fmla="*/ 62 w 89"/>
                    <a:gd name="T3" fmla="*/ 4 h 52"/>
                    <a:gd name="T4" fmla="*/ 62 w 89"/>
                    <a:gd name="T5" fmla="*/ 3 h 52"/>
                    <a:gd name="T6" fmla="*/ 45 w 89"/>
                    <a:gd name="T7" fmla="*/ 0 h 52"/>
                    <a:gd name="T8" fmla="*/ 27 w 89"/>
                    <a:gd name="T9" fmla="*/ 3 h 52"/>
                    <a:gd name="T10" fmla="*/ 27 w 89"/>
                    <a:gd name="T11" fmla="*/ 4 h 52"/>
                    <a:gd name="T12" fmla="*/ 2 w 89"/>
                    <a:gd name="T13" fmla="*/ 41 h 52"/>
                    <a:gd name="T14" fmla="*/ 0 w 89"/>
                    <a:gd name="T15" fmla="*/ 41 h 52"/>
                    <a:gd name="T16" fmla="*/ 0 w 89"/>
                    <a:gd name="T17" fmla="*/ 52 h 52"/>
                    <a:gd name="T18" fmla="*/ 89 w 89"/>
                    <a:gd name="T19" fmla="*/ 52 h 52"/>
                    <a:gd name="T20" fmla="*/ 89 w 89"/>
                    <a:gd name="T21" fmla="*/ 41 h 52"/>
                    <a:gd name="T22" fmla="*/ 87 w 89"/>
                    <a:gd name="T23"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52">
                      <a:moveTo>
                        <a:pt x="87" y="41"/>
                      </a:moveTo>
                      <a:cubicBezTo>
                        <a:pt x="86" y="34"/>
                        <a:pt x="81" y="12"/>
                        <a:pt x="62" y="4"/>
                      </a:cubicBezTo>
                      <a:cubicBezTo>
                        <a:pt x="62" y="3"/>
                        <a:pt x="62" y="3"/>
                        <a:pt x="62" y="3"/>
                      </a:cubicBezTo>
                      <a:cubicBezTo>
                        <a:pt x="52" y="0"/>
                        <a:pt x="45" y="0"/>
                        <a:pt x="45" y="0"/>
                      </a:cubicBezTo>
                      <a:cubicBezTo>
                        <a:pt x="44" y="0"/>
                        <a:pt x="37" y="0"/>
                        <a:pt x="27" y="3"/>
                      </a:cubicBezTo>
                      <a:cubicBezTo>
                        <a:pt x="27" y="4"/>
                        <a:pt x="27" y="4"/>
                        <a:pt x="27" y="4"/>
                      </a:cubicBezTo>
                      <a:cubicBezTo>
                        <a:pt x="8" y="12"/>
                        <a:pt x="3" y="34"/>
                        <a:pt x="2" y="41"/>
                      </a:cubicBezTo>
                      <a:cubicBezTo>
                        <a:pt x="0" y="41"/>
                        <a:pt x="0" y="41"/>
                        <a:pt x="0" y="41"/>
                      </a:cubicBezTo>
                      <a:cubicBezTo>
                        <a:pt x="0" y="52"/>
                        <a:pt x="0" y="52"/>
                        <a:pt x="0" y="52"/>
                      </a:cubicBezTo>
                      <a:cubicBezTo>
                        <a:pt x="89" y="52"/>
                        <a:pt x="89" y="52"/>
                        <a:pt x="89" y="52"/>
                      </a:cubicBezTo>
                      <a:cubicBezTo>
                        <a:pt x="89" y="41"/>
                        <a:pt x="89" y="41"/>
                        <a:pt x="89" y="41"/>
                      </a:cubicBezTo>
                      <a:cubicBezTo>
                        <a:pt x="87" y="41"/>
                        <a:pt x="87" y="41"/>
                        <a:pt x="87" y="41"/>
                      </a:cubicBezTo>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7" name="ïṩlíḑè"/>
                <p:cNvSpPr/>
                <p:nvPr/>
              </p:nvSpPr>
              <p:spPr bwMode="auto">
                <a:xfrm>
                  <a:off x="5789620" y="2339281"/>
                  <a:ext cx="344299" cy="397628"/>
                </a:xfrm>
                <a:custGeom>
                  <a:avLst/>
                  <a:gdLst>
                    <a:gd name="T0" fmla="*/ 43 w 45"/>
                    <a:gd name="T1" fmla="*/ 41 h 52"/>
                    <a:gd name="T2" fmla="*/ 18 w 45"/>
                    <a:gd name="T3" fmla="*/ 4 h 52"/>
                    <a:gd name="T4" fmla="*/ 18 w 45"/>
                    <a:gd name="T5" fmla="*/ 3 h 52"/>
                    <a:gd name="T6" fmla="*/ 1 w 45"/>
                    <a:gd name="T7" fmla="*/ 0 h 52"/>
                    <a:gd name="T8" fmla="*/ 0 w 45"/>
                    <a:gd name="T9" fmla="*/ 0 h 52"/>
                    <a:gd name="T10" fmla="*/ 0 w 45"/>
                    <a:gd name="T11" fmla="*/ 52 h 52"/>
                    <a:gd name="T12" fmla="*/ 45 w 45"/>
                    <a:gd name="T13" fmla="*/ 52 h 52"/>
                    <a:gd name="T14" fmla="*/ 45 w 45"/>
                    <a:gd name="T15" fmla="*/ 41 h 52"/>
                    <a:gd name="T16" fmla="*/ 43 w 45"/>
                    <a:gd name="T17"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2">
                      <a:moveTo>
                        <a:pt x="43" y="41"/>
                      </a:moveTo>
                      <a:cubicBezTo>
                        <a:pt x="42" y="34"/>
                        <a:pt x="37" y="12"/>
                        <a:pt x="18" y="4"/>
                      </a:cubicBezTo>
                      <a:cubicBezTo>
                        <a:pt x="18" y="3"/>
                        <a:pt x="18" y="3"/>
                        <a:pt x="18" y="3"/>
                      </a:cubicBezTo>
                      <a:cubicBezTo>
                        <a:pt x="8" y="0"/>
                        <a:pt x="1" y="0"/>
                        <a:pt x="1" y="0"/>
                      </a:cubicBezTo>
                      <a:cubicBezTo>
                        <a:pt x="0" y="0"/>
                        <a:pt x="0" y="0"/>
                        <a:pt x="0" y="0"/>
                      </a:cubicBezTo>
                      <a:cubicBezTo>
                        <a:pt x="0" y="52"/>
                        <a:pt x="0" y="52"/>
                        <a:pt x="0" y="52"/>
                      </a:cubicBezTo>
                      <a:cubicBezTo>
                        <a:pt x="45" y="52"/>
                        <a:pt x="45" y="52"/>
                        <a:pt x="45" y="52"/>
                      </a:cubicBezTo>
                      <a:cubicBezTo>
                        <a:pt x="45" y="41"/>
                        <a:pt x="45" y="41"/>
                        <a:pt x="45" y="41"/>
                      </a:cubicBezTo>
                      <a:cubicBezTo>
                        <a:pt x="43" y="41"/>
                        <a:pt x="43" y="41"/>
                        <a:pt x="43" y="41"/>
                      </a:cubicBezTo>
                    </a:path>
                  </a:pathLst>
                </a:custGeom>
                <a:solidFill>
                  <a:srgbClr val="FF8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8" name="íṣliḍe"/>
                <p:cNvSpPr/>
                <p:nvPr/>
              </p:nvSpPr>
              <p:spPr bwMode="auto">
                <a:xfrm>
                  <a:off x="5591273" y="2370156"/>
                  <a:ext cx="114143" cy="267580"/>
                </a:xfrm>
                <a:custGeom>
                  <a:avLst/>
                  <a:gdLst>
                    <a:gd name="T0" fmla="*/ 9 w 15"/>
                    <a:gd name="T1" fmla="*/ 0 h 35"/>
                    <a:gd name="T2" fmla="*/ 15 w 15"/>
                    <a:gd name="T3" fmla="*/ 32 h 35"/>
                    <a:gd name="T4" fmla="*/ 10 w 15"/>
                    <a:gd name="T5" fmla="*/ 32 h 35"/>
                    <a:gd name="T6" fmla="*/ 0 w 15"/>
                    <a:gd name="T7" fmla="*/ 6 h 35"/>
                    <a:gd name="T8" fmla="*/ 9 w 15"/>
                    <a:gd name="T9" fmla="*/ 0 h 35"/>
                  </a:gdLst>
                  <a:ahLst/>
                  <a:cxnLst>
                    <a:cxn ang="0">
                      <a:pos x="T0" y="T1"/>
                    </a:cxn>
                    <a:cxn ang="0">
                      <a:pos x="T2" y="T3"/>
                    </a:cxn>
                    <a:cxn ang="0">
                      <a:pos x="T4" y="T5"/>
                    </a:cxn>
                    <a:cxn ang="0">
                      <a:pos x="T6" y="T7"/>
                    </a:cxn>
                    <a:cxn ang="0">
                      <a:pos x="T8" y="T9"/>
                    </a:cxn>
                  </a:cxnLst>
                  <a:rect l="0" t="0" r="r" b="b"/>
                  <a:pathLst>
                    <a:path w="15" h="35">
                      <a:moveTo>
                        <a:pt x="9" y="0"/>
                      </a:moveTo>
                      <a:cubicBezTo>
                        <a:pt x="9" y="0"/>
                        <a:pt x="5" y="6"/>
                        <a:pt x="15" y="32"/>
                      </a:cubicBezTo>
                      <a:cubicBezTo>
                        <a:pt x="14" y="35"/>
                        <a:pt x="10" y="33"/>
                        <a:pt x="10" y="32"/>
                      </a:cubicBezTo>
                      <a:cubicBezTo>
                        <a:pt x="2" y="20"/>
                        <a:pt x="0" y="6"/>
                        <a:pt x="0" y="6"/>
                      </a:cubicBezTo>
                      <a:cubicBezTo>
                        <a:pt x="0" y="6"/>
                        <a:pt x="3" y="3"/>
                        <a:pt x="9" y="0"/>
                      </a:cubicBezTo>
                      <a:close/>
                    </a:path>
                  </a:pathLst>
                </a:custGeom>
                <a:solidFill>
                  <a:srgbClr val="ECCF7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9" name="îšliḍê"/>
                <p:cNvSpPr/>
                <p:nvPr/>
              </p:nvSpPr>
              <p:spPr bwMode="auto">
                <a:xfrm>
                  <a:off x="5881308" y="2370156"/>
                  <a:ext cx="115078" cy="267580"/>
                </a:xfrm>
                <a:custGeom>
                  <a:avLst/>
                  <a:gdLst>
                    <a:gd name="T0" fmla="*/ 6 w 15"/>
                    <a:gd name="T1" fmla="*/ 0 h 35"/>
                    <a:gd name="T2" fmla="*/ 0 w 15"/>
                    <a:gd name="T3" fmla="*/ 32 h 35"/>
                    <a:gd name="T4" fmla="*/ 5 w 15"/>
                    <a:gd name="T5" fmla="*/ 32 h 35"/>
                    <a:gd name="T6" fmla="*/ 15 w 15"/>
                    <a:gd name="T7" fmla="*/ 6 h 35"/>
                    <a:gd name="T8" fmla="*/ 6 w 15"/>
                    <a:gd name="T9" fmla="*/ 0 h 35"/>
                  </a:gdLst>
                  <a:ahLst/>
                  <a:cxnLst>
                    <a:cxn ang="0">
                      <a:pos x="T0" y="T1"/>
                    </a:cxn>
                    <a:cxn ang="0">
                      <a:pos x="T2" y="T3"/>
                    </a:cxn>
                    <a:cxn ang="0">
                      <a:pos x="T4" y="T5"/>
                    </a:cxn>
                    <a:cxn ang="0">
                      <a:pos x="T6" y="T7"/>
                    </a:cxn>
                    <a:cxn ang="0">
                      <a:pos x="T8" y="T9"/>
                    </a:cxn>
                  </a:cxnLst>
                  <a:rect l="0" t="0" r="r" b="b"/>
                  <a:pathLst>
                    <a:path w="15" h="35">
                      <a:moveTo>
                        <a:pt x="6" y="0"/>
                      </a:moveTo>
                      <a:cubicBezTo>
                        <a:pt x="6" y="0"/>
                        <a:pt x="10" y="6"/>
                        <a:pt x="0" y="32"/>
                      </a:cubicBezTo>
                      <a:cubicBezTo>
                        <a:pt x="1" y="35"/>
                        <a:pt x="5" y="33"/>
                        <a:pt x="5" y="32"/>
                      </a:cubicBezTo>
                      <a:cubicBezTo>
                        <a:pt x="13" y="20"/>
                        <a:pt x="15" y="6"/>
                        <a:pt x="15" y="6"/>
                      </a:cubicBezTo>
                      <a:cubicBezTo>
                        <a:pt x="15" y="6"/>
                        <a:pt x="12" y="3"/>
                        <a:pt x="6" y="0"/>
                      </a:cubicBezTo>
                      <a:close/>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0" name="íSļiḍè"/>
                <p:cNvSpPr/>
                <p:nvPr/>
              </p:nvSpPr>
              <p:spPr bwMode="auto">
                <a:xfrm>
                  <a:off x="5452805" y="2652706"/>
                  <a:ext cx="336814" cy="30875"/>
                </a:xfrm>
                <a:custGeom>
                  <a:avLst/>
                  <a:gdLst>
                    <a:gd name="T0" fmla="*/ 360 w 360"/>
                    <a:gd name="T1" fmla="*/ 0 h 33"/>
                    <a:gd name="T2" fmla="*/ 17 w 360"/>
                    <a:gd name="T3" fmla="*/ 0 h 33"/>
                    <a:gd name="T4" fmla="*/ 17 w 360"/>
                    <a:gd name="T5" fmla="*/ 0 h 33"/>
                    <a:gd name="T6" fmla="*/ 0 w 360"/>
                    <a:gd name="T7" fmla="*/ 0 h 33"/>
                    <a:gd name="T8" fmla="*/ 0 w 360"/>
                    <a:gd name="T9" fmla="*/ 33 h 33"/>
                    <a:gd name="T10" fmla="*/ 360 w 360"/>
                    <a:gd name="T11" fmla="*/ 33 h 33"/>
                    <a:gd name="T12" fmla="*/ 360 w 3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0" h="33">
                      <a:moveTo>
                        <a:pt x="360" y="0"/>
                      </a:moveTo>
                      <a:lnTo>
                        <a:pt x="17" y="0"/>
                      </a:lnTo>
                      <a:lnTo>
                        <a:pt x="17" y="0"/>
                      </a:lnTo>
                      <a:lnTo>
                        <a:pt x="0" y="0"/>
                      </a:lnTo>
                      <a:lnTo>
                        <a:pt x="0" y="33"/>
                      </a:lnTo>
                      <a:lnTo>
                        <a:pt x="360" y="33"/>
                      </a:lnTo>
                      <a:lnTo>
                        <a:pt x="360" y="0"/>
                      </a:lnTo>
                      <a:close/>
                    </a:path>
                  </a:pathLst>
                </a:custGeom>
                <a:solidFill>
                  <a:srgbClr val="EC772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1" name="ïSľiḑè"/>
                <p:cNvSpPr/>
                <p:nvPr/>
              </p:nvSpPr>
              <p:spPr bwMode="auto">
                <a:xfrm>
                  <a:off x="5452805" y="2652706"/>
                  <a:ext cx="336814" cy="30875"/>
                </a:xfrm>
                <a:custGeom>
                  <a:avLst/>
                  <a:gdLst>
                    <a:gd name="T0" fmla="*/ 360 w 360"/>
                    <a:gd name="T1" fmla="*/ 0 h 33"/>
                    <a:gd name="T2" fmla="*/ 17 w 360"/>
                    <a:gd name="T3" fmla="*/ 0 h 33"/>
                    <a:gd name="T4" fmla="*/ 17 w 360"/>
                    <a:gd name="T5" fmla="*/ 0 h 33"/>
                    <a:gd name="T6" fmla="*/ 0 w 360"/>
                    <a:gd name="T7" fmla="*/ 0 h 33"/>
                    <a:gd name="T8" fmla="*/ 0 w 360"/>
                    <a:gd name="T9" fmla="*/ 33 h 33"/>
                    <a:gd name="T10" fmla="*/ 360 w 360"/>
                    <a:gd name="T11" fmla="*/ 33 h 33"/>
                    <a:gd name="T12" fmla="*/ 360 w 3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0" h="33">
                      <a:moveTo>
                        <a:pt x="360" y="0"/>
                      </a:moveTo>
                      <a:lnTo>
                        <a:pt x="17" y="0"/>
                      </a:lnTo>
                      <a:lnTo>
                        <a:pt x="17" y="0"/>
                      </a:lnTo>
                      <a:lnTo>
                        <a:pt x="0" y="0"/>
                      </a:lnTo>
                      <a:lnTo>
                        <a:pt x="0" y="33"/>
                      </a:lnTo>
                      <a:lnTo>
                        <a:pt x="360" y="33"/>
                      </a:lnTo>
                      <a:lnTo>
                        <a:pt x="3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2" name="ïŝľíḓé"/>
                <p:cNvSpPr/>
                <p:nvPr/>
              </p:nvSpPr>
              <p:spPr bwMode="auto">
                <a:xfrm>
                  <a:off x="5789620" y="2652706"/>
                  <a:ext cx="344299" cy="30875"/>
                </a:xfrm>
                <a:custGeom>
                  <a:avLst/>
                  <a:gdLst>
                    <a:gd name="T0" fmla="*/ 368 w 368"/>
                    <a:gd name="T1" fmla="*/ 0 h 33"/>
                    <a:gd name="T2" fmla="*/ 351 w 368"/>
                    <a:gd name="T3" fmla="*/ 0 h 33"/>
                    <a:gd name="T4" fmla="*/ 351 w 368"/>
                    <a:gd name="T5" fmla="*/ 0 h 33"/>
                    <a:gd name="T6" fmla="*/ 0 w 368"/>
                    <a:gd name="T7" fmla="*/ 0 h 33"/>
                    <a:gd name="T8" fmla="*/ 0 w 368"/>
                    <a:gd name="T9" fmla="*/ 33 h 33"/>
                    <a:gd name="T10" fmla="*/ 368 w 368"/>
                    <a:gd name="T11" fmla="*/ 33 h 33"/>
                    <a:gd name="T12" fmla="*/ 368 w 36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8" h="33">
                      <a:moveTo>
                        <a:pt x="368" y="0"/>
                      </a:moveTo>
                      <a:lnTo>
                        <a:pt x="351" y="0"/>
                      </a:lnTo>
                      <a:lnTo>
                        <a:pt x="351" y="0"/>
                      </a:lnTo>
                      <a:lnTo>
                        <a:pt x="0" y="0"/>
                      </a:lnTo>
                      <a:lnTo>
                        <a:pt x="0" y="33"/>
                      </a:lnTo>
                      <a:lnTo>
                        <a:pt x="368" y="33"/>
                      </a:lnTo>
                      <a:lnTo>
                        <a:pt x="368" y="0"/>
                      </a:lnTo>
                      <a:close/>
                    </a:path>
                  </a:pathLst>
                </a:custGeom>
                <a:solidFill>
                  <a:srgbClr val="FF6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3" name="ïŝliḍé"/>
                <p:cNvSpPr/>
                <p:nvPr/>
              </p:nvSpPr>
              <p:spPr bwMode="auto">
                <a:xfrm>
                  <a:off x="5789620" y="2652706"/>
                  <a:ext cx="344299" cy="30875"/>
                </a:xfrm>
                <a:custGeom>
                  <a:avLst/>
                  <a:gdLst>
                    <a:gd name="T0" fmla="*/ 368 w 368"/>
                    <a:gd name="T1" fmla="*/ 0 h 33"/>
                    <a:gd name="T2" fmla="*/ 351 w 368"/>
                    <a:gd name="T3" fmla="*/ 0 h 33"/>
                    <a:gd name="T4" fmla="*/ 351 w 368"/>
                    <a:gd name="T5" fmla="*/ 0 h 33"/>
                    <a:gd name="T6" fmla="*/ 0 w 368"/>
                    <a:gd name="T7" fmla="*/ 0 h 33"/>
                    <a:gd name="T8" fmla="*/ 0 w 368"/>
                    <a:gd name="T9" fmla="*/ 33 h 33"/>
                    <a:gd name="T10" fmla="*/ 368 w 368"/>
                    <a:gd name="T11" fmla="*/ 33 h 33"/>
                    <a:gd name="T12" fmla="*/ 368 w 36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8" h="33">
                      <a:moveTo>
                        <a:pt x="368" y="0"/>
                      </a:moveTo>
                      <a:lnTo>
                        <a:pt x="351" y="0"/>
                      </a:lnTo>
                      <a:lnTo>
                        <a:pt x="351" y="0"/>
                      </a:lnTo>
                      <a:lnTo>
                        <a:pt x="0" y="0"/>
                      </a:lnTo>
                      <a:lnTo>
                        <a:pt x="0" y="33"/>
                      </a:lnTo>
                      <a:lnTo>
                        <a:pt x="368" y="33"/>
                      </a:lnTo>
                      <a:lnTo>
                        <a:pt x="3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4" name="ïś1îďè"/>
                <p:cNvSpPr/>
                <p:nvPr/>
              </p:nvSpPr>
              <p:spPr bwMode="auto">
                <a:xfrm>
                  <a:off x="5476195" y="3133601"/>
                  <a:ext cx="91688" cy="710117"/>
                </a:xfrm>
                <a:custGeom>
                  <a:avLst/>
                  <a:gdLst>
                    <a:gd name="T0" fmla="*/ 98 w 98"/>
                    <a:gd name="T1" fmla="*/ 759 h 759"/>
                    <a:gd name="T2" fmla="*/ 0 w 98"/>
                    <a:gd name="T3" fmla="*/ 759 h 759"/>
                    <a:gd name="T4" fmla="*/ 0 w 98"/>
                    <a:gd name="T5" fmla="*/ 33 h 759"/>
                    <a:gd name="T6" fmla="*/ 98 w 98"/>
                    <a:gd name="T7" fmla="*/ 0 h 759"/>
                    <a:gd name="T8" fmla="*/ 98 w 98"/>
                    <a:gd name="T9" fmla="*/ 759 h 759"/>
                  </a:gdLst>
                  <a:ahLst/>
                  <a:cxnLst>
                    <a:cxn ang="0">
                      <a:pos x="T0" y="T1"/>
                    </a:cxn>
                    <a:cxn ang="0">
                      <a:pos x="T2" y="T3"/>
                    </a:cxn>
                    <a:cxn ang="0">
                      <a:pos x="T4" y="T5"/>
                    </a:cxn>
                    <a:cxn ang="0">
                      <a:pos x="T6" y="T7"/>
                    </a:cxn>
                    <a:cxn ang="0">
                      <a:pos x="T8" y="T9"/>
                    </a:cxn>
                  </a:cxnLst>
                  <a:rect l="0" t="0" r="r" b="b"/>
                  <a:pathLst>
                    <a:path w="98" h="759">
                      <a:moveTo>
                        <a:pt x="98" y="759"/>
                      </a:moveTo>
                      <a:lnTo>
                        <a:pt x="0" y="759"/>
                      </a:lnTo>
                      <a:lnTo>
                        <a:pt x="0" y="33"/>
                      </a:lnTo>
                      <a:lnTo>
                        <a:pt x="98" y="0"/>
                      </a:lnTo>
                      <a:lnTo>
                        <a:pt x="98" y="759"/>
                      </a:lnTo>
                      <a:close/>
                    </a:path>
                  </a:pathLst>
                </a:custGeom>
                <a:solidFill>
                  <a:srgbClr val="295A9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5" name="îṧ1îḍè"/>
                <p:cNvSpPr/>
                <p:nvPr/>
              </p:nvSpPr>
              <p:spPr bwMode="auto">
                <a:xfrm>
                  <a:off x="6011356" y="3133602"/>
                  <a:ext cx="91688" cy="710117"/>
                </a:xfrm>
                <a:custGeom>
                  <a:avLst/>
                  <a:gdLst>
                    <a:gd name="T0" fmla="*/ 0 w 98"/>
                    <a:gd name="T1" fmla="*/ 759 h 759"/>
                    <a:gd name="T2" fmla="*/ 98 w 98"/>
                    <a:gd name="T3" fmla="*/ 759 h 759"/>
                    <a:gd name="T4" fmla="*/ 98 w 98"/>
                    <a:gd name="T5" fmla="*/ 33 h 759"/>
                    <a:gd name="T6" fmla="*/ 0 w 98"/>
                    <a:gd name="T7" fmla="*/ 0 h 759"/>
                    <a:gd name="T8" fmla="*/ 0 w 98"/>
                    <a:gd name="T9" fmla="*/ 759 h 759"/>
                  </a:gdLst>
                  <a:ahLst/>
                  <a:cxnLst>
                    <a:cxn ang="0">
                      <a:pos x="T0" y="T1"/>
                    </a:cxn>
                    <a:cxn ang="0">
                      <a:pos x="T2" y="T3"/>
                    </a:cxn>
                    <a:cxn ang="0">
                      <a:pos x="T4" y="T5"/>
                    </a:cxn>
                    <a:cxn ang="0">
                      <a:pos x="T6" y="T7"/>
                    </a:cxn>
                    <a:cxn ang="0">
                      <a:pos x="T8" y="T9"/>
                    </a:cxn>
                  </a:cxnLst>
                  <a:rect l="0" t="0" r="r" b="b"/>
                  <a:pathLst>
                    <a:path w="98" h="759">
                      <a:moveTo>
                        <a:pt x="0" y="759"/>
                      </a:moveTo>
                      <a:lnTo>
                        <a:pt x="98" y="759"/>
                      </a:lnTo>
                      <a:lnTo>
                        <a:pt x="98" y="33"/>
                      </a:lnTo>
                      <a:lnTo>
                        <a:pt x="0" y="0"/>
                      </a:lnTo>
                      <a:lnTo>
                        <a:pt x="0" y="759"/>
                      </a:lnTo>
                      <a:close/>
                    </a:path>
                  </a:pathLst>
                </a:custGeom>
                <a:solidFill>
                  <a:srgbClr val="24518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6" name="ïŝḻïḑé"/>
                <p:cNvSpPr/>
                <p:nvPr/>
              </p:nvSpPr>
              <p:spPr bwMode="auto">
                <a:xfrm>
                  <a:off x="5422866" y="3577074"/>
                  <a:ext cx="740991" cy="305004"/>
                </a:xfrm>
                <a:prstGeom prst="rect">
                  <a:avLst/>
                </a:prstGeom>
                <a:solidFill>
                  <a:srgbClr val="295A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7" name="isḻïdé"/>
                <p:cNvSpPr/>
                <p:nvPr/>
              </p:nvSpPr>
              <p:spPr bwMode="auto">
                <a:xfrm>
                  <a:off x="5797104" y="3577074"/>
                  <a:ext cx="366753" cy="305004"/>
                </a:xfrm>
                <a:prstGeom prst="rect">
                  <a:avLst/>
                </a:prstGeom>
                <a:solidFill>
                  <a:srgbClr val="24518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8" name="ïS1îḋé"/>
                <p:cNvSpPr/>
                <p:nvPr/>
              </p:nvSpPr>
              <p:spPr bwMode="auto">
                <a:xfrm>
                  <a:off x="5498650" y="3622918"/>
                  <a:ext cx="46780" cy="53329"/>
                </a:xfrm>
                <a:prstGeom prst="ellipse">
                  <a:avLst/>
                </a:prstGeom>
                <a:solidFill>
                  <a:srgbClr val="E8D79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9" name="î$ḷïḋe"/>
                <p:cNvSpPr/>
                <p:nvPr/>
              </p:nvSpPr>
              <p:spPr bwMode="auto">
                <a:xfrm>
                  <a:off x="6042230" y="3622918"/>
                  <a:ext cx="45844" cy="53329"/>
                </a:xfrm>
                <a:prstGeom prst="ellipse">
                  <a:avLst/>
                </a:pr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0" name="iṡliḋe"/>
                <p:cNvSpPr/>
                <p:nvPr/>
              </p:nvSpPr>
              <p:spPr bwMode="auto">
                <a:xfrm>
                  <a:off x="5591274" y="4272222"/>
                  <a:ext cx="405113" cy="236706"/>
                </a:xfrm>
                <a:custGeom>
                  <a:avLst/>
                  <a:gdLst>
                    <a:gd name="T0" fmla="*/ 53 w 53"/>
                    <a:gd name="T1" fmla="*/ 18 h 31"/>
                    <a:gd name="T2" fmla="*/ 53 w 53"/>
                    <a:gd name="T3" fmla="*/ 12 h 31"/>
                    <a:gd name="T4" fmla="*/ 49 w 53"/>
                    <a:gd name="T5" fmla="*/ 11 h 31"/>
                    <a:gd name="T6" fmla="*/ 50 w 53"/>
                    <a:gd name="T7" fmla="*/ 10 h 31"/>
                    <a:gd name="T8" fmla="*/ 43 w 53"/>
                    <a:gd name="T9" fmla="*/ 5 h 31"/>
                    <a:gd name="T10" fmla="*/ 41 w 53"/>
                    <a:gd name="T11" fmla="*/ 0 h 31"/>
                    <a:gd name="T12" fmla="*/ 19 w 53"/>
                    <a:gd name="T13" fmla="*/ 2 h 31"/>
                    <a:gd name="T14" fmla="*/ 12 w 53"/>
                    <a:gd name="T15" fmla="*/ 4 h 31"/>
                    <a:gd name="T16" fmla="*/ 4 w 53"/>
                    <a:gd name="T17" fmla="*/ 6 h 31"/>
                    <a:gd name="T18" fmla="*/ 0 w 53"/>
                    <a:gd name="T19" fmla="*/ 13 h 31"/>
                    <a:gd name="T20" fmla="*/ 0 w 53"/>
                    <a:gd name="T21" fmla="*/ 19 h 31"/>
                    <a:gd name="T22" fmla="*/ 2 w 53"/>
                    <a:gd name="T23" fmla="*/ 20 h 31"/>
                    <a:gd name="T24" fmla="*/ 2 w 53"/>
                    <a:gd name="T25" fmla="*/ 23 h 31"/>
                    <a:gd name="T26" fmla="*/ 4 w 53"/>
                    <a:gd name="T27" fmla="*/ 26 h 31"/>
                    <a:gd name="T28" fmla="*/ 9 w 53"/>
                    <a:gd name="T29" fmla="*/ 25 h 31"/>
                    <a:gd name="T30" fmla="*/ 10 w 53"/>
                    <a:gd name="T31" fmla="*/ 28 h 31"/>
                    <a:gd name="T32" fmla="*/ 14 w 53"/>
                    <a:gd name="T33" fmla="*/ 30 h 31"/>
                    <a:gd name="T34" fmla="*/ 18 w 53"/>
                    <a:gd name="T35" fmla="*/ 29 h 31"/>
                    <a:gd name="T36" fmla="*/ 22 w 53"/>
                    <a:gd name="T37" fmla="*/ 31 h 31"/>
                    <a:gd name="T38" fmla="*/ 29 w 53"/>
                    <a:gd name="T39" fmla="*/ 31 h 31"/>
                    <a:gd name="T40" fmla="*/ 31 w 53"/>
                    <a:gd name="T41" fmla="*/ 29 h 31"/>
                    <a:gd name="T42" fmla="*/ 36 w 53"/>
                    <a:gd name="T43" fmla="*/ 30 h 31"/>
                    <a:gd name="T44" fmla="*/ 42 w 53"/>
                    <a:gd name="T45" fmla="*/ 29 h 31"/>
                    <a:gd name="T46" fmla="*/ 43 w 53"/>
                    <a:gd name="T47" fmla="*/ 28 h 31"/>
                    <a:gd name="T48" fmla="*/ 43 w 53"/>
                    <a:gd name="T49" fmla="*/ 28 h 31"/>
                    <a:gd name="T50" fmla="*/ 45 w 53"/>
                    <a:gd name="T51" fmla="*/ 25 h 31"/>
                    <a:gd name="T52" fmla="*/ 49 w 53"/>
                    <a:gd name="T53" fmla="*/ 25 h 31"/>
                    <a:gd name="T54" fmla="*/ 51 w 53"/>
                    <a:gd name="T55" fmla="*/ 23 h 31"/>
                    <a:gd name="T56" fmla="*/ 51 w 53"/>
                    <a:gd name="T57" fmla="*/ 19 h 31"/>
                    <a:gd name="T58" fmla="*/ 53 w 53"/>
                    <a:gd name="T59" fmla="*/ 19 h 31"/>
                    <a:gd name="T60" fmla="*/ 38 w 53"/>
                    <a:gd name="T61" fmla="*/ 20 h 31"/>
                    <a:gd name="T62" fmla="*/ 13 w 53"/>
                    <a:gd name="T63" fmla="*/ 18 h 31"/>
                    <a:gd name="T64" fmla="*/ 27 w 53"/>
                    <a:gd name="T65" fmla="*/ 10 h 31"/>
                    <a:gd name="T66" fmla="*/ 38 w 53"/>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31">
                      <a:moveTo>
                        <a:pt x="53" y="19"/>
                      </a:moveTo>
                      <a:cubicBezTo>
                        <a:pt x="53" y="18"/>
                        <a:pt x="53" y="18"/>
                        <a:pt x="53" y="18"/>
                      </a:cubicBezTo>
                      <a:cubicBezTo>
                        <a:pt x="53" y="18"/>
                        <a:pt x="53" y="18"/>
                        <a:pt x="53" y="18"/>
                      </a:cubicBezTo>
                      <a:cubicBezTo>
                        <a:pt x="53" y="12"/>
                        <a:pt x="53" y="12"/>
                        <a:pt x="53" y="12"/>
                      </a:cubicBezTo>
                      <a:cubicBezTo>
                        <a:pt x="50" y="12"/>
                        <a:pt x="50" y="12"/>
                        <a:pt x="50" y="12"/>
                      </a:cubicBezTo>
                      <a:cubicBezTo>
                        <a:pt x="49" y="11"/>
                        <a:pt x="49" y="11"/>
                        <a:pt x="49" y="11"/>
                      </a:cubicBezTo>
                      <a:cubicBezTo>
                        <a:pt x="48" y="10"/>
                        <a:pt x="48" y="10"/>
                        <a:pt x="48" y="10"/>
                      </a:cubicBezTo>
                      <a:cubicBezTo>
                        <a:pt x="50" y="10"/>
                        <a:pt x="50" y="10"/>
                        <a:pt x="50" y="10"/>
                      </a:cubicBezTo>
                      <a:cubicBezTo>
                        <a:pt x="50" y="5"/>
                        <a:pt x="50" y="5"/>
                        <a:pt x="50" y="5"/>
                      </a:cubicBezTo>
                      <a:cubicBezTo>
                        <a:pt x="43" y="5"/>
                        <a:pt x="43" y="5"/>
                        <a:pt x="43" y="5"/>
                      </a:cubicBezTo>
                      <a:cubicBezTo>
                        <a:pt x="42" y="4"/>
                        <a:pt x="42" y="4"/>
                        <a:pt x="42" y="4"/>
                      </a:cubicBezTo>
                      <a:cubicBezTo>
                        <a:pt x="41" y="0"/>
                        <a:pt x="41" y="0"/>
                        <a:pt x="41" y="0"/>
                      </a:cubicBezTo>
                      <a:cubicBezTo>
                        <a:pt x="37" y="1"/>
                        <a:pt x="37" y="1"/>
                        <a:pt x="37" y="1"/>
                      </a:cubicBezTo>
                      <a:cubicBezTo>
                        <a:pt x="19" y="2"/>
                        <a:pt x="19" y="2"/>
                        <a:pt x="19" y="2"/>
                      </a:cubicBezTo>
                      <a:cubicBezTo>
                        <a:pt x="12" y="1"/>
                        <a:pt x="12" y="1"/>
                        <a:pt x="12" y="1"/>
                      </a:cubicBezTo>
                      <a:cubicBezTo>
                        <a:pt x="12" y="4"/>
                        <a:pt x="12" y="4"/>
                        <a:pt x="12" y="4"/>
                      </a:cubicBezTo>
                      <a:cubicBezTo>
                        <a:pt x="9" y="7"/>
                        <a:pt x="9" y="7"/>
                        <a:pt x="9" y="7"/>
                      </a:cubicBezTo>
                      <a:cubicBezTo>
                        <a:pt x="4" y="6"/>
                        <a:pt x="4" y="6"/>
                        <a:pt x="4" y="6"/>
                      </a:cubicBezTo>
                      <a:cubicBezTo>
                        <a:pt x="4" y="11"/>
                        <a:pt x="4" y="11"/>
                        <a:pt x="4" y="11"/>
                      </a:cubicBezTo>
                      <a:cubicBezTo>
                        <a:pt x="0" y="13"/>
                        <a:pt x="0" y="13"/>
                        <a:pt x="0" y="13"/>
                      </a:cubicBezTo>
                      <a:cubicBezTo>
                        <a:pt x="0" y="19"/>
                        <a:pt x="0" y="19"/>
                        <a:pt x="0" y="19"/>
                      </a:cubicBezTo>
                      <a:cubicBezTo>
                        <a:pt x="0" y="19"/>
                        <a:pt x="0" y="19"/>
                        <a:pt x="0" y="19"/>
                      </a:cubicBezTo>
                      <a:cubicBezTo>
                        <a:pt x="0" y="19"/>
                        <a:pt x="1" y="20"/>
                        <a:pt x="2" y="20"/>
                      </a:cubicBezTo>
                      <a:cubicBezTo>
                        <a:pt x="2" y="20"/>
                        <a:pt x="2" y="20"/>
                        <a:pt x="2" y="20"/>
                      </a:cubicBezTo>
                      <a:cubicBezTo>
                        <a:pt x="2" y="23"/>
                        <a:pt x="2" y="23"/>
                        <a:pt x="2" y="23"/>
                      </a:cubicBezTo>
                      <a:cubicBezTo>
                        <a:pt x="2" y="23"/>
                        <a:pt x="2" y="23"/>
                        <a:pt x="2" y="23"/>
                      </a:cubicBezTo>
                      <a:cubicBezTo>
                        <a:pt x="2" y="24"/>
                        <a:pt x="2" y="24"/>
                        <a:pt x="2" y="24"/>
                      </a:cubicBezTo>
                      <a:cubicBezTo>
                        <a:pt x="4" y="26"/>
                        <a:pt x="4" y="26"/>
                        <a:pt x="4" y="26"/>
                      </a:cubicBezTo>
                      <a:cubicBezTo>
                        <a:pt x="4" y="26"/>
                        <a:pt x="5" y="26"/>
                        <a:pt x="6" y="26"/>
                      </a:cubicBezTo>
                      <a:cubicBezTo>
                        <a:pt x="9" y="25"/>
                        <a:pt x="9" y="25"/>
                        <a:pt x="9" y="25"/>
                      </a:cubicBezTo>
                      <a:cubicBezTo>
                        <a:pt x="9" y="25"/>
                        <a:pt x="9" y="26"/>
                        <a:pt x="10" y="26"/>
                      </a:cubicBezTo>
                      <a:cubicBezTo>
                        <a:pt x="10" y="28"/>
                        <a:pt x="10" y="28"/>
                        <a:pt x="10" y="28"/>
                      </a:cubicBezTo>
                      <a:cubicBezTo>
                        <a:pt x="10" y="28"/>
                        <a:pt x="10" y="29"/>
                        <a:pt x="10" y="29"/>
                      </a:cubicBezTo>
                      <a:cubicBezTo>
                        <a:pt x="14" y="30"/>
                        <a:pt x="14" y="30"/>
                        <a:pt x="14" y="30"/>
                      </a:cubicBezTo>
                      <a:cubicBezTo>
                        <a:pt x="15" y="30"/>
                        <a:pt x="16" y="30"/>
                        <a:pt x="17" y="30"/>
                      </a:cubicBezTo>
                      <a:cubicBezTo>
                        <a:pt x="18" y="29"/>
                        <a:pt x="18" y="29"/>
                        <a:pt x="18" y="29"/>
                      </a:cubicBezTo>
                      <a:cubicBezTo>
                        <a:pt x="20" y="29"/>
                        <a:pt x="21" y="29"/>
                        <a:pt x="22" y="29"/>
                      </a:cubicBezTo>
                      <a:cubicBezTo>
                        <a:pt x="22" y="31"/>
                        <a:pt x="22" y="31"/>
                        <a:pt x="22" y="31"/>
                      </a:cubicBezTo>
                      <a:cubicBezTo>
                        <a:pt x="22" y="31"/>
                        <a:pt x="23" y="31"/>
                        <a:pt x="24" y="31"/>
                      </a:cubicBezTo>
                      <a:cubicBezTo>
                        <a:pt x="29" y="31"/>
                        <a:pt x="29" y="31"/>
                        <a:pt x="29" y="31"/>
                      </a:cubicBezTo>
                      <a:cubicBezTo>
                        <a:pt x="30" y="31"/>
                        <a:pt x="31" y="31"/>
                        <a:pt x="31" y="30"/>
                      </a:cubicBezTo>
                      <a:cubicBezTo>
                        <a:pt x="31" y="29"/>
                        <a:pt x="31" y="29"/>
                        <a:pt x="31" y="29"/>
                      </a:cubicBezTo>
                      <a:cubicBezTo>
                        <a:pt x="32" y="29"/>
                        <a:pt x="33" y="29"/>
                        <a:pt x="35" y="29"/>
                      </a:cubicBezTo>
                      <a:cubicBezTo>
                        <a:pt x="36" y="30"/>
                        <a:pt x="36" y="30"/>
                        <a:pt x="36" y="30"/>
                      </a:cubicBezTo>
                      <a:cubicBezTo>
                        <a:pt x="37" y="30"/>
                        <a:pt x="38" y="30"/>
                        <a:pt x="39" y="30"/>
                      </a:cubicBezTo>
                      <a:cubicBezTo>
                        <a:pt x="42" y="29"/>
                        <a:pt x="42" y="29"/>
                        <a:pt x="42" y="29"/>
                      </a:cubicBezTo>
                      <a:cubicBezTo>
                        <a:pt x="43"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4" y="26"/>
                        <a:pt x="44" y="25"/>
                        <a:pt x="45" y="25"/>
                      </a:cubicBezTo>
                      <a:cubicBezTo>
                        <a:pt x="47" y="26"/>
                        <a:pt x="47" y="26"/>
                        <a:pt x="47" y="26"/>
                      </a:cubicBezTo>
                      <a:cubicBezTo>
                        <a:pt x="48" y="26"/>
                        <a:pt x="49"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3" y="19"/>
                        <a:pt x="53" y="19"/>
                      </a:cubicBezTo>
                      <a:cubicBezTo>
                        <a:pt x="53" y="19"/>
                        <a:pt x="53" y="19"/>
                        <a:pt x="53" y="19"/>
                      </a:cubicBezTo>
                      <a:close/>
                      <a:moveTo>
                        <a:pt x="38" y="20"/>
                      </a:moveTo>
                      <a:cubicBezTo>
                        <a:pt x="36" y="22"/>
                        <a:pt x="32" y="21"/>
                        <a:pt x="27" y="21"/>
                      </a:cubicBezTo>
                      <a:cubicBezTo>
                        <a:pt x="19" y="21"/>
                        <a:pt x="13" y="22"/>
                        <a:pt x="13" y="18"/>
                      </a:cubicBezTo>
                      <a:cubicBezTo>
                        <a:pt x="13" y="16"/>
                        <a:pt x="14" y="15"/>
                        <a:pt x="16" y="14"/>
                      </a:cubicBezTo>
                      <a:cubicBezTo>
                        <a:pt x="18" y="12"/>
                        <a:pt x="22" y="11"/>
                        <a:pt x="27" y="10"/>
                      </a:cubicBezTo>
                      <a:cubicBezTo>
                        <a:pt x="34" y="10"/>
                        <a:pt x="40" y="14"/>
                        <a:pt x="40" y="18"/>
                      </a:cubicBezTo>
                      <a:cubicBezTo>
                        <a:pt x="40" y="19"/>
                        <a:pt x="40"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1" name="îṧḷíďè"/>
                <p:cNvSpPr/>
                <p:nvPr/>
              </p:nvSpPr>
              <p:spPr bwMode="auto">
                <a:xfrm>
                  <a:off x="5591274" y="4248832"/>
                  <a:ext cx="405113" cy="214251"/>
                </a:xfrm>
                <a:custGeom>
                  <a:avLst/>
                  <a:gdLst>
                    <a:gd name="T0" fmla="*/ 53 w 53"/>
                    <a:gd name="T1" fmla="*/ 15 h 28"/>
                    <a:gd name="T2" fmla="*/ 49 w 53"/>
                    <a:gd name="T3" fmla="*/ 16 h 28"/>
                    <a:gd name="T4" fmla="*/ 50 w 53"/>
                    <a:gd name="T5" fmla="*/ 19 h 28"/>
                    <a:gd name="T6" fmla="*/ 49 w 53"/>
                    <a:gd name="T7" fmla="*/ 22 h 28"/>
                    <a:gd name="T8" fmla="*/ 45 w 53"/>
                    <a:gd name="T9" fmla="*/ 22 h 28"/>
                    <a:gd name="T10" fmla="*/ 43 w 53"/>
                    <a:gd name="T11" fmla="*/ 24 h 28"/>
                    <a:gd name="T12" fmla="*/ 39 w 53"/>
                    <a:gd name="T13" fmla="*/ 27 h 28"/>
                    <a:gd name="T14" fmla="*/ 35 w 53"/>
                    <a:gd name="T15" fmla="*/ 25 h 28"/>
                    <a:gd name="T16" fmla="*/ 31 w 53"/>
                    <a:gd name="T17" fmla="*/ 27 h 28"/>
                    <a:gd name="T18" fmla="*/ 24 w 53"/>
                    <a:gd name="T19" fmla="*/ 28 h 28"/>
                    <a:gd name="T20" fmla="*/ 22 w 53"/>
                    <a:gd name="T21" fmla="*/ 26 h 28"/>
                    <a:gd name="T22" fmla="*/ 17 w 53"/>
                    <a:gd name="T23" fmla="*/ 26 h 28"/>
                    <a:gd name="T24" fmla="*/ 10 w 53"/>
                    <a:gd name="T25" fmla="*/ 26 h 28"/>
                    <a:gd name="T26" fmla="*/ 11 w 53"/>
                    <a:gd name="T27" fmla="*/ 23 h 28"/>
                    <a:gd name="T28" fmla="*/ 6 w 53"/>
                    <a:gd name="T29" fmla="*/ 22 h 28"/>
                    <a:gd name="T30" fmla="*/ 2 w 53"/>
                    <a:gd name="T31" fmla="*/ 20 h 28"/>
                    <a:gd name="T32" fmla="*/ 5 w 53"/>
                    <a:gd name="T33" fmla="*/ 18 h 28"/>
                    <a:gd name="T34" fmla="*/ 2 w 53"/>
                    <a:gd name="T35" fmla="*/ 16 h 28"/>
                    <a:gd name="T36" fmla="*/ 1 w 53"/>
                    <a:gd name="T37" fmla="*/ 13 h 28"/>
                    <a:gd name="T38" fmla="*/ 5 w 53"/>
                    <a:gd name="T39" fmla="*/ 12 h 28"/>
                    <a:gd name="T40" fmla="*/ 4 w 53"/>
                    <a:gd name="T41" fmla="*/ 10 h 28"/>
                    <a:gd name="T42" fmla="*/ 6 w 53"/>
                    <a:gd name="T43" fmla="*/ 6 h 28"/>
                    <a:gd name="T44" fmla="*/ 10 w 53"/>
                    <a:gd name="T45" fmla="*/ 7 h 28"/>
                    <a:gd name="T46" fmla="*/ 12 w 53"/>
                    <a:gd name="T47" fmla="*/ 4 h 28"/>
                    <a:gd name="T48" fmla="*/ 17 w 53"/>
                    <a:gd name="T49" fmla="*/ 2 h 28"/>
                    <a:gd name="T50" fmla="*/ 20 w 53"/>
                    <a:gd name="T51" fmla="*/ 3 h 28"/>
                    <a:gd name="T52" fmla="*/ 23 w 53"/>
                    <a:gd name="T53" fmla="*/ 1 h 28"/>
                    <a:gd name="T54" fmla="*/ 29 w 53"/>
                    <a:gd name="T55" fmla="*/ 0 h 28"/>
                    <a:gd name="T56" fmla="*/ 30 w 53"/>
                    <a:gd name="T57" fmla="*/ 2 h 28"/>
                    <a:gd name="T58" fmla="*/ 35 w 53"/>
                    <a:gd name="T59" fmla="*/ 2 h 28"/>
                    <a:gd name="T60" fmla="*/ 41 w 53"/>
                    <a:gd name="T61" fmla="*/ 3 h 28"/>
                    <a:gd name="T62" fmla="*/ 40 w 53"/>
                    <a:gd name="T63" fmla="*/ 5 h 28"/>
                    <a:gd name="T64" fmla="*/ 45 w 53"/>
                    <a:gd name="T65" fmla="*/ 6 h 28"/>
                    <a:gd name="T66" fmla="*/ 49 w 53"/>
                    <a:gd name="T67" fmla="*/ 8 h 28"/>
                    <a:gd name="T68" fmla="*/ 47 w 53"/>
                    <a:gd name="T69" fmla="*/ 10 h 28"/>
                    <a:gd name="T70" fmla="*/ 51 w 53"/>
                    <a:gd name="T71" fmla="*/ 12 h 28"/>
                    <a:gd name="T72" fmla="*/ 38 w 53"/>
                    <a:gd name="T73" fmla="*/ 18 h 28"/>
                    <a:gd name="T74" fmla="*/ 27 w 53"/>
                    <a:gd name="T75" fmla="*/ 7 h 28"/>
                    <a:gd name="T76" fmla="*/ 13 w 53"/>
                    <a:gd name="T77" fmla="*/ 14 h 28"/>
                    <a:gd name="T78" fmla="*/ 38 w 5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28">
                      <a:moveTo>
                        <a:pt x="52" y="13"/>
                      </a:moveTo>
                      <a:cubicBezTo>
                        <a:pt x="53" y="15"/>
                        <a:pt x="53" y="15"/>
                        <a:pt x="53" y="15"/>
                      </a:cubicBezTo>
                      <a:cubicBezTo>
                        <a:pt x="53" y="16"/>
                        <a:pt x="52" y="16"/>
                        <a:pt x="51" y="16"/>
                      </a:cubicBezTo>
                      <a:cubicBezTo>
                        <a:pt x="49" y="16"/>
                        <a:pt x="49" y="16"/>
                        <a:pt x="49" y="16"/>
                      </a:cubicBezTo>
                      <a:cubicBezTo>
                        <a:pt x="49" y="17"/>
                        <a:pt x="48" y="17"/>
                        <a:pt x="48" y="18"/>
                      </a:cubicBezTo>
                      <a:cubicBezTo>
                        <a:pt x="50" y="19"/>
                        <a:pt x="50" y="19"/>
                        <a:pt x="50" y="19"/>
                      </a:cubicBezTo>
                      <a:cubicBezTo>
                        <a:pt x="51" y="19"/>
                        <a:pt x="51" y="20"/>
                        <a:pt x="51" y="20"/>
                      </a:cubicBezTo>
                      <a:cubicBezTo>
                        <a:pt x="49" y="22"/>
                        <a:pt x="49" y="22"/>
                        <a:pt x="49" y="22"/>
                      </a:cubicBezTo>
                      <a:cubicBezTo>
                        <a:pt x="49" y="22"/>
                        <a:pt x="48" y="23"/>
                        <a:pt x="47" y="22"/>
                      </a:cubicBezTo>
                      <a:cubicBezTo>
                        <a:pt x="45" y="22"/>
                        <a:pt x="45" y="22"/>
                        <a:pt x="45" y="22"/>
                      </a:cubicBezTo>
                      <a:cubicBezTo>
                        <a:pt x="44" y="22"/>
                        <a:pt x="43" y="23"/>
                        <a:pt x="42" y="23"/>
                      </a:cubicBezTo>
                      <a:cubicBezTo>
                        <a:pt x="43" y="24"/>
                        <a:pt x="43" y="24"/>
                        <a:pt x="43" y="24"/>
                      </a:cubicBezTo>
                      <a:cubicBezTo>
                        <a:pt x="44" y="25"/>
                        <a:pt x="43" y="25"/>
                        <a:pt x="42" y="25"/>
                      </a:cubicBezTo>
                      <a:cubicBezTo>
                        <a:pt x="39" y="27"/>
                        <a:pt x="39" y="27"/>
                        <a:pt x="39" y="27"/>
                      </a:cubicBezTo>
                      <a:cubicBezTo>
                        <a:pt x="38" y="27"/>
                        <a:pt x="37" y="27"/>
                        <a:pt x="36" y="26"/>
                      </a:cubicBezTo>
                      <a:cubicBezTo>
                        <a:pt x="35" y="25"/>
                        <a:pt x="35" y="25"/>
                        <a:pt x="35" y="25"/>
                      </a:cubicBezTo>
                      <a:cubicBezTo>
                        <a:pt x="33" y="25"/>
                        <a:pt x="32" y="26"/>
                        <a:pt x="31" y="26"/>
                      </a:cubicBezTo>
                      <a:cubicBezTo>
                        <a:pt x="31" y="27"/>
                        <a:pt x="31" y="27"/>
                        <a:pt x="31" y="27"/>
                      </a:cubicBezTo>
                      <a:cubicBezTo>
                        <a:pt x="31" y="28"/>
                        <a:pt x="30" y="28"/>
                        <a:pt x="29" y="28"/>
                      </a:cubicBezTo>
                      <a:cubicBezTo>
                        <a:pt x="24" y="28"/>
                        <a:pt x="24" y="28"/>
                        <a:pt x="24" y="28"/>
                      </a:cubicBezTo>
                      <a:cubicBezTo>
                        <a:pt x="23" y="28"/>
                        <a:pt x="22" y="28"/>
                        <a:pt x="22" y="27"/>
                      </a:cubicBezTo>
                      <a:cubicBezTo>
                        <a:pt x="22" y="26"/>
                        <a:pt x="22" y="26"/>
                        <a:pt x="22" y="26"/>
                      </a:cubicBezTo>
                      <a:cubicBezTo>
                        <a:pt x="21" y="26"/>
                        <a:pt x="20" y="25"/>
                        <a:pt x="18" y="25"/>
                      </a:cubicBezTo>
                      <a:cubicBezTo>
                        <a:pt x="17" y="26"/>
                        <a:pt x="17" y="26"/>
                        <a:pt x="17" y="26"/>
                      </a:cubicBezTo>
                      <a:cubicBezTo>
                        <a:pt x="16" y="27"/>
                        <a:pt x="15" y="27"/>
                        <a:pt x="14" y="27"/>
                      </a:cubicBezTo>
                      <a:cubicBezTo>
                        <a:pt x="10" y="26"/>
                        <a:pt x="10" y="26"/>
                        <a:pt x="10" y="26"/>
                      </a:cubicBezTo>
                      <a:cubicBezTo>
                        <a:pt x="10" y="25"/>
                        <a:pt x="9" y="25"/>
                        <a:pt x="10" y="24"/>
                      </a:cubicBezTo>
                      <a:cubicBezTo>
                        <a:pt x="11" y="23"/>
                        <a:pt x="11" y="23"/>
                        <a:pt x="11" y="23"/>
                      </a:cubicBezTo>
                      <a:cubicBezTo>
                        <a:pt x="10" y="23"/>
                        <a:pt x="9" y="22"/>
                        <a:pt x="9" y="22"/>
                      </a:cubicBezTo>
                      <a:cubicBezTo>
                        <a:pt x="6" y="22"/>
                        <a:pt x="6" y="22"/>
                        <a:pt x="6" y="22"/>
                      </a:cubicBezTo>
                      <a:cubicBezTo>
                        <a:pt x="5" y="23"/>
                        <a:pt x="4" y="22"/>
                        <a:pt x="4" y="22"/>
                      </a:cubicBezTo>
                      <a:cubicBezTo>
                        <a:pt x="2" y="20"/>
                        <a:pt x="2" y="20"/>
                        <a:pt x="2" y="20"/>
                      </a:cubicBezTo>
                      <a:cubicBezTo>
                        <a:pt x="2" y="20"/>
                        <a:pt x="2" y="19"/>
                        <a:pt x="3" y="19"/>
                      </a:cubicBezTo>
                      <a:cubicBezTo>
                        <a:pt x="5" y="18"/>
                        <a:pt x="5" y="18"/>
                        <a:pt x="5" y="18"/>
                      </a:cubicBezTo>
                      <a:cubicBezTo>
                        <a:pt x="5" y="18"/>
                        <a:pt x="4" y="17"/>
                        <a:pt x="4" y="16"/>
                      </a:cubicBezTo>
                      <a:cubicBezTo>
                        <a:pt x="2" y="16"/>
                        <a:pt x="2" y="16"/>
                        <a:pt x="2" y="16"/>
                      </a:cubicBezTo>
                      <a:cubicBezTo>
                        <a:pt x="1" y="16"/>
                        <a:pt x="0" y="16"/>
                        <a:pt x="0" y="15"/>
                      </a:cubicBezTo>
                      <a:cubicBezTo>
                        <a:pt x="1" y="13"/>
                        <a:pt x="1" y="13"/>
                        <a:pt x="1" y="13"/>
                      </a:cubicBezTo>
                      <a:cubicBezTo>
                        <a:pt x="1" y="13"/>
                        <a:pt x="2" y="12"/>
                        <a:pt x="3" y="12"/>
                      </a:cubicBezTo>
                      <a:cubicBezTo>
                        <a:pt x="5" y="12"/>
                        <a:pt x="5" y="12"/>
                        <a:pt x="5" y="12"/>
                      </a:cubicBezTo>
                      <a:cubicBezTo>
                        <a:pt x="5" y="12"/>
                        <a:pt x="6" y="11"/>
                        <a:pt x="6" y="10"/>
                      </a:cubicBezTo>
                      <a:cubicBezTo>
                        <a:pt x="4" y="10"/>
                        <a:pt x="4" y="10"/>
                        <a:pt x="4" y="10"/>
                      </a:cubicBezTo>
                      <a:cubicBezTo>
                        <a:pt x="4" y="9"/>
                        <a:pt x="4" y="9"/>
                        <a:pt x="4" y="8"/>
                      </a:cubicBezTo>
                      <a:cubicBezTo>
                        <a:pt x="6" y="6"/>
                        <a:pt x="6" y="6"/>
                        <a:pt x="6" y="6"/>
                      </a:cubicBezTo>
                      <a:cubicBezTo>
                        <a:pt x="7" y="6"/>
                        <a:pt x="8" y="6"/>
                        <a:pt x="9" y="6"/>
                      </a:cubicBezTo>
                      <a:cubicBezTo>
                        <a:pt x="10" y="7"/>
                        <a:pt x="10" y="7"/>
                        <a:pt x="10" y="7"/>
                      </a:cubicBezTo>
                      <a:cubicBezTo>
                        <a:pt x="11" y="6"/>
                        <a:pt x="12" y="6"/>
                        <a:pt x="13" y="5"/>
                      </a:cubicBezTo>
                      <a:cubicBezTo>
                        <a:pt x="12" y="4"/>
                        <a:pt x="12" y="4"/>
                        <a:pt x="12" y="4"/>
                      </a:cubicBezTo>
                      <a:cubicBezTo>
                        <a:pt x="12" y="4"/>
                        <a:pt x="12" y="3"/>
                        <a:pt x="13" y="3"/>
                      </a:cubicBezTo>
                      <a:cubicBezTo>
                        <a:pt x="17" y="2"/>
                        <a:pt x="17" y="2"/>
                        <a:pt x="17" y="2"/>
                      </a:cubicBezTo>
                      <a:cubicBezTo>
                        <a:pt x="17" y="2"/>
                        <a:pt x="18" y="2"/>
                        <a:pt x="19" y="2"/>
                      </a:cubicBezTo>
                      <a:cubicBezTo>
                        <a:pt x="20" y="3"/>
                        <a:pt x="20" y="3"/>
                        <a:pt x="20" y="3"/>
                      </a:cubicBezTo>
                      <a:cubicBezTo>
                        <a:pt x="21" y="3"/>
                        <a:pt x="22" y="3"/>
                        <a:pt x="23" y="3"/>
                      </a:cubicBezTo>
                      <a:cubicBezTo>
                        <a:pt x="23" y="1"/>
                        <a:pt x="23" y="1"/>
                        <a:pt x="23" y="1"/>
                      </a:cubicBezTo>
                      <a:cubicBezTo>
                        <a:pt x="23" y="1"/>
                        <a:pt x="24" y="0"/>
                        <a:pt x="25" y="0"/>
                      </a:cubicBezTo>
                      <a:cubicBezTo>
                        <a:pt x="29" y="0"/>
                        <a:pt x="29" y="0"/>
                        <a:pt x="29" y="0"/>
                      </a:cubicBezTo>
                      <a:cubicBezTo>
                        <a:pt x="30" y="0"/>
                        <a:pt x="30" y="1"/>
                        <a:pt x="30" y="1"/>
                      </a:cubicBezTo>
                      <a:cubicBezTo>
                        <a:pt x="30" y="2"/>
                        <a:pt x="30" y="2"/>
                        <a:pt x="30" y="2"/>
                      </a:cubicBezTo>
                      <a:cubicBezTo>
                        <a:pt x="32" y="3"/>
                        <a:pt x="33" y="3"/>
                        <a:pt x="34" y="3"/>
                      </a:cubicBezTo>
                      <a:cubicBezTo>
                        <a:pt x="35" y="2"/>
                        <a:pt x="35" y="2"/>
                        <a:pt x="35" y="2"/>
                      </a:cubicBezTo>
                      <a:cubicBezTo>
                        <a:pt x="35" y="1"/>
                        <a:pt x="36" y="1"/>
                        <a:pt x="37" y="1"/>
                      </a:cubicBezTo>
                      <a:cubicBezTo>
                        <a:pt x="41" y="3"/>
                        <a:pt x="41" y="3"/>
                        <a:pt x="41" y="3"/>
                      </a:cubicBezTo>
                      <a:cubicBezTo>
                        <a:pt x="41" y="3"/>
                        <a:pt x="42" y="3"/>
                        <a:pt x="41" y="4"/>
                      </a:cubicBezTo>
                      <a:cubicBezTo>
                        <a:pt x="40" y="5"/>
                        <a:pt x="40" y="5"/>
                        <a:pt x="40" y="5"/>
                      </a:cubicBezTo>
                      <a:cubicBezTo>
                        <a:pt x="41" y="5"/>
                        <a:pt x="42" y="6"/>
                        <a:pt x="43" y="6"/>
                      </a:cubicBezTo>
                      <a:cubicBezTo>
                        <a:pt x="45" y="6"/>
                        <a:pt x="45" y="6"/>
                        <a:pt x="45" y="6"/>
                      </a:cubicBezTo>
                      <a:cubicBezTo>
                        <a:pt x="46" y="5"/>
                        <a:pt x="47" y="6"/>
                        <a:pt x="47" y="6"/>
                      </a:cubicBezTo>
                      <a:cubicBezTo>
                        <a:pt x="49" y="8"/>
                        <a:pt x="49" y="8"/>
                        <a:pt x="49" y="8"/>
                      </a:cubicBezTo>
                      <a:cubicBezTo>
                        <a:pt x="50" y="8"/>
                        <a:pt x="50" y="9"/>
                        <a:pt x="49" y="9"/>
                      </a:cubicBezTo>
                      <a:cubicBezTo>
                        <a:pt x="47" y="10"/>
                        <a:pt x="47" y="10"/>
                        <a:pt x="47" y="10"/>
                      </a:cubicBezTo>
                      <a:cubicBezTo>
                        <a:pt x="48" y="10"/>
                        <a:pt x="48" y="11"/>
                        <a:pt x="48" y="12"/>
                      </a:cubicBezTo>
                      <a:cubicBezTo>
                        <a:pt x="51" y="12"/>
                        <a:pt x="51" y="12"/>
                        <a:pt x="51" y="12"/>
                      </a:cubicBezTo>
                      <a:cubicBezTo>
                        <a:pt x="52" y="12"/>
                        <a:pt x="52" y="12"/>
                        <a:pt x="52" y="13"/>
                      </a:cubicBezTo>
                      <a:close/>
                      <a:moveTo>
                        <a:pt x="38" y="18"/>
                      </a:moveTo>
                      <a:cubicBezTo>
                        <a:pt x="39" y="17"/>
                        <a:pt x="40" y="16"/>
                        <a:pt x="40" y="14"/>
                      </a:cubicBezTo>
                      <a:cubicBezTo>
                        <a:pt x="40" y="10"/>
                        <a:pt x="34" y="7"/>
                        <a:pt x="27" y="7"/>
                      </a:cubicBezTo>
                      <a:cubicBezTo>
                        <a:pt x="22" y="7"/>
                        <a:pt x="18" y="8"/>
                        <a:pt x="16" y="10"/>
                      </a:cubicBezTo>
                      <a:cubicBezTo>
                        <a:pt x="14" y="11"/>
                        <a:pt x="13" y="13"/>
                        <a:pt x="13" y="14"/>
                      </a:cubicBezTo>
                      <a:cubicBezTo>
                        <a:pt x="13" y="18"/>
                        <a:pt x="19" y="21"/>
                        <a:pt x="27" y="21"/>
                      </a:cubicBezTo>
                      <a:cubicBezTo>
                        <a:pt x="31" y="21"/>
                        <a:pt x="36"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2" name="ïś1iḍê"/>
                <p:cNvSpPr/>
                <p:nvPr/>
              </p:nvSpPr>
              <p:spPr bwMode="auto">
                <a:xfrm>
                  <a:off x="5720387" y="4272222"/>
                  <a:ext cx="145953" cy="91688"/>
                </a:xfrm>
                <a:custGeom>
                  <a:avLst/>
                  <a:gdLst>
                    <a:gd name="T0" fmla="*/ 19 w 19"/>
                    <a:gd name="T1" fmla="*/ 0 h 12"/>
                    <a:gd name="T2" fmla="*/ 0 w 19"/>
                    <a:gd name="T3" fmla="*/ 0 h 12"/>
                    <a:gd name="T4" fmla="*/ 0 w 19"/>
                    <a:gd name="T5" fmla="*/ 8 h 12"/>
                    <a:gd name="T6" fmla="*/ 0 w 19"/>
                    <a:gd name="T7" fmla="*/ 8 h 12"/>
                    <a:gd name="T8" fmla="*/ 9 w 19"/>
                    <a:gd name="T9" fmla="*/ 12 h 12"/>
                    <a:gd name="T10" fmla="*/ 17 w 19"/>
                    <a:gd name="T11" fmla="*/ 10 h 12"/>
                    <a:gd name="T12" fmla="*/ 18 w 19"/>
                    <a:gd name="T13" fmla="*/ 8 h 12"/>
                    <a:gd name="T14" fmla="*/ 19 w 19"/>
                    <a:gd name="T15" fmla="*/ 8 h 12"/>
                    <a:gd name="T16" fmla="*/ 19 w 1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2">
                      <a:moveTo>
                        <a:pt x="19" y="0"/>
                      </a:moveTo>
                      <a:cubicBezTo>
                        <a:pt x="0" y="0"/>
                        <a:pt x="0" y="0"/>
                        <a:pt x="0" y="0"/>
                      </a:cubicBezTo>
                      <a:cubicBezTo>
                        <a:pt x="0" y="8"/>
                        <a:pt x="0" y="8"/>
                        <a:pt x="0" y="8"/>
                      </a:cubicBezTo>
                      <a:cubicBezTo>
                        <a:pt x="0" y="8"/>
                        <a:pt x="0" y="8"/>
                        <a:pt x="0" y="8"/>
                      </a:cubicBezTo>
                      <a:cubicBezTo>
                        <a:pt x="0" y="11"/>
                        <a:pt x="4" y="12"/>
                        <a:pt x="9" y="12"/>
                      </a:cubicBezTo>
                      <a:cubicBezTo>
                        <a:pt x="13" y="12"/>
                        <a:pt x="16" y="12"/>
                        <a:pt x="17" y="10"/>
                      </a:cubicBezTo>
                      <a:cubicBezTo>
                        <a:pt x="18" y="10"/>
                        <a:pt x="18" y="9"/>
                        <a:pt x="18" y="8"/>
                      </a:cubicBezTo>
                      <a:cubicBezTo>
                        <a:pt x="19" y="8"/>
                        <a:pt x="19" y="8"/>
                        <a:pt x="19" y="8"/>
                      </a:cubicBezTo>
                      <a:lnTo>
                        <a:pt x="19" y="0"/>
                      </a:ln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3" name="iŝ1îďe"/>
                <p:cNvSpPr/>
                <p:nvPr/>
              </p:nvSpPr>
              <p:spPr bwMode="auto">
                <a:xfrm>
                  <a:off x="5712902" y="4233863"/>
                  <a:ext cx="153438" cy="75783"/>
                </a:xfrm>
                <a:custGeom>
                  <a:avLst/>
                  <a:gdLst>
                    <a:gd name="T0" fmla="*/ 18 w 20"/>
                    <a:gd name="T1" fmla="*/ 8 h 10"/>
                    <a:gd name="T2" fmla="*/ 20 w 20"/>
                    <a:gd name="T3" fmla="*/ 5 h 10"/>
                    <a:gd name="T4" fmla="*/ 10 w 20"/>
                    <a:gd name="T5" fmla="*/ 0 h 10"/>
                    <a:gd name="T6" fmla="*/ 2 w 20"/>
                    <a:gd name="T7" fmla="*/ 2 h 10"/>
                    <a:gd name="T8" fmla="*/ 1 w 20"/>
                    <a:gd name="T9" fmla="*/ 5 h 10"/>
                    <a:gd name="T10" fmla="*/ 10 w 20"/>
                    <a:gd name="T11" fmla="*/ 10 h 10"/>
                    <a:gd name="T12" fmla="*/ 18 w 20"/>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20" h="10">
                      <a:moveTo>
                        <a:pt x="18" y="8"/>
                      </a:moveTo>
                      <a:cubicBezTo>
                        <a:pt x="19" y="7"/>
                        <a:pt x="20" y="6"/>
                        <a:pt x="20" y="5"/>
                      </a:cubicBezTo>
                      <a:cubicBezTo>
                        <a:pt x="19" y="2"/>
                        <a:pt x="15" y="0"/>
                        <a:pt x="10" y="0"/>
                      </a:cubicBezTo>
                      <a:cubicBezTo>
                        <a:pt x="7" y="0"/>
                        <a:pt x="4" y="1"/>
                        <a:pt x="2" y="2"/>
                      </a:cubicBezTo>
                      <a:cubicBezTo>
                        <a:pt x="1" y="3"/>
                        <a:pt x="1" y="4"/>
                        <a:pt x="1" y="5"/>
                      </a:cubicBezTo>
                      <a:cubicBezTo>
                        <a:pt x="0" y="8"/>
                        <a:pt x="5" y="10"/>
                        <a:pt x="10" y="10"/>
                      </a:cubicBezTo>
                      <a:cubicBezTo>
                        <a:pt x="14" y="10"/>
                        <a:pt x="17" y="9"/>
                        <a:pt x="18"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4" name="îslïḋè"/>
                <p:cNvSpPr/>
                <p:nvPr/>
              </p:nvSpPr>
              <p:spPr bwMode="auto">
                <a:xfrm>
                  <a:off x="5422867" y="4103815"/>
                  <a:ext cx="351784" cy="320909"/>
                </a:xfrm>
                <a:custGeom>
                  <a:avLst/>
                  <a:gdLst>
                    <a:gd name="T0" fmla="*/ 15 w 46"/>
                    <a:gd name="T1" fmla="*/ 33 h 42"/>
                    <a:gd name="T2" fmla="*/ 39 w 46"/>
                    <a:gd name="T3" fmla="*/ 30 h 42"/>
                    <a:gd name="T4" fmla="*/ 23 w 46"/>
                    <a:gd name="T5" fmla="*/ 5 h 42"/>
                    <a:gd name="T6" fmla="*/ 15 w 46"/>
                    <a:gd name="T7" fmla="*/ 33 h 42"/>
                  </a:gdLst>
                  <a:ahLst/>
                  <a:cxnLst>
                    <a:cxn ang="0">
                      <a:pos x="T0" y="T1"/>
                    </a:cxn>
                    <a:cxn ang="0">
                      <a:pos x="T2" y="T3"/>
                    </a:cxn>
                    <a:cxn ang="0">
                      <a:pos x="T4" y="T5"/>
                    </a:cxn>
                    <a:cxn ang="0">
                      <a:pos x="T6" y="T7"/>
                    </a:cxn>
                  </a:cxnLst>
                  <a:rect l="0" t="0" r="r" b="b"/>
                  <a:pathLst>
                    <a:path w="46" h="42">
                      <a:moveTo>
                        <a:pt x="15" y="33"/>
                      </a:moveTo>
                      <a:cubicBezTo>
                        <a:pt x="15" y="33"/>
                        <a:pt x="34" y="42"/>
                        <a:pt x="39" y="30"/>
                      </a:cubicBezTo>
                      <a:cubicBezTo>
                        <a:pt x="44" y="17"/>
                        <a:pt x="46" y="10"/>
                        <a:pt x="23" y="5"/>
                      </a:cubicBezTo>
                      <a:cubicBezTo>
                        <a:pt x="0" y="0"/>
                        <a:pt x="15" y="33"/>
                        <a:pt x="15" y="33"/>
                      </a:cubicBezTo>
                      <a:close/>
                    </a:path>
                  </a:pathLst>
                </a:custGeom>
                <a:solidFill>
                  <a:srgbClr val="E8D79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5" name="îṥľïḑé"/>
                <p:cNvSpPr/>
                <p:nvPr/>
              </p:nvSpPr>
              <p:spPr bwMode="auto">
                <a:xfrm>
                  <a:off x="5093539" y="3630404"/>
                  <a:ext cx="459377" cy="733506"/>
                </a:xfrm>
                <a:custGeom>
                  <a:avLst/>
                  <a:gdLst>
                    <a:gd name="T0" fmla="*/ 60 w 60"/>
                    <a:gd name="T1" fmla="*/ 96 h 96"/>
                    <a:gd name="T2" fmla="*/ 27 w 60"/>
                    <a:gd name="T3" fmla="*/ 81 h 96"/>
                    <a:gd name="T4" fmla="*/ 0 w 60"/>
                    <a:gd name="T5" fmla="*/ 55 h 96"/>
                    <a:gd name="T6" fmla="*/ 6 w 60"/>
                    <a:gd name="T7" fmla="*/ 2 h 96"/>
                    <a:gd name="T8" fmla="*/ 37 w 60"/>
                    <a:gd name="T9" fmla="*/ 0 h 96"/>
                    <a:gd name="T10" fmla="*/ 27 w 60"/>
                    <a:gd name="T11" fmla="*/ 42 h 96"/>
                    <a:gd name="T12" fmla="*/ 56 w 60"/>
                    <a:gd name="T13" fmla="*/ 68 h 96"/>
                    <a:gd name="T14" fmla="*/ 60 w 60"/>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6">
                      <a:moveTo>
                        <a:pt x="60" y="96"/>
                      </a:moveTo>
                      <a:cubicBezTo>
                        <a:pt x="60" y="96"/>
                        <a:pt x="30" y="83"/>
                        <a:pt x="27" y="81"/>
                      </a:cubicBezTo>
                      <a:cubicBezTo>
                        <a:pt x="13" y="77"/>
                        <a:pt x="0" y="67"/>
                        <a:pt x="0" y="55"/>
                      </a:cubicBezTo>
                      <a:cubicBezTo>
                        <a:pt x="2" y="20"/>
                        <a:pt x="6" y="2"/>
                        <a:pt x="6" y="2"/>
                      </a:cubicBezTo>
                      <a:cubicBezTo>
                        <a:pt x="37" y="0"/>
                        <a:pt x="37" y="0"/>
                        <a:pt x="37" y="0"/>
                      </a:cubicBezTo>
                      <a:cubicBezTo>
                        <a:pt x="37" y="0"/>
                        <a:pt x="40" y="13"/>
                        <a:pt x="27" y="42"/>
                      </a:cubicBezTo>
                      <a:cubicBezTo>
                        <a:pt x="20" y="58"/>
                        <a:pt x="56" y="68"/>
                        <a:pt x="56" y="68"/>
                      </a:cubicBezTo>
                      <a:lnTo>
                        <a:pt x="60" y="96"/>
                      </a:lnTo>
                      <a:close/>
                    </a:path>
                  </a:pathLst>
                </a:custGeom>
                <a:solidFill>
                  <a:srgbClr val="E8D79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6" name="ïṣļîḍê"/>
                <p:cNvSpPr/>
                <p:nvPr/>
              </p:nvSpPr>
              <p:spPr bwMode="auto">
                <a:xfrm>
                  <a:off x="5827981" y="4103815"/>
                  <a:ext cx="344299" cy="320909"/>
                </a:xfrm>
                <a:custGeom>
                  <a:avLst/>
                  <a:gdLst>
                    <a:gd name="T0" fmla="*/ 31 w 45"/>
                    <a:gd name="T1" fmla="*/ 33 h 42"/>
                    <a:gd name="T2" fmla="*/ 7 w 45"/>
                    <a:gd name="T3" fmla="*/ 30 h 42"/>
                    <a:gd name="T4" fmla="*/ 23 w 45"/>
                    <a:gd name="T5" fmla="*/ 5 h 42"/>
                    <a:gd name="T6" fmla="*/ 31 w 45"/>
                    <a:gd name="T7" fmla="*/ 33 h 42"/>
                  </a:gdLst>
                  <a:ahLst/>
                  <a:cxnLst>
                    <a:cxn ang="0">
                      <a:pos x="T0" y="T1"/>
                    </a:cxn>
                    <a:cxn ang="0">
                      <a:pos x="T2" y="T3"/>
                    </a:cxn>
                    <a:cxn ang="0">
                      <a:pos x="T4" y="T5"/>
                    </a:cxn>
                    <a:cxn ang="0">
                      <a:pos x="T6" y="T7"/>
                    </a:cxn>
                  </a:cxnLst>
                  <a:rect l="0" t="0" r="r" b="b"/>
                  <a:pathLst>
                    <a:path w="45" h="42">
                      <a:moveTo>
                        <a:pt x="31" y="33"/>
                      </a:moveTo>
                      <a:cubicBezTo>
                        <a:pt x="31" y="33"/>
                        <a:pt x="12" y="42"/>
                        <a:pt x="7" y="30"/>
                      </a:cubicBezTo>
                      <a:cubicBezTo>
                        <a:pt x="2" y="17"/>
                        <a:pt x="0" y="10"/>
                        <a:pt x="23" y="5"/>
                      </a:cubicBezTo>
                      <a:cubicBezTo>
                        <a:pt x="45" y="0"/>
                        <a:pt x="31" y="33"/>
                        <a:pt x="31" y="33"/>
                      </a:cubicBez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7" name="ïšḻiḍe"/>
                <p:cNvSpPr/>
                <p:nvPr/>
              </p:nvSpPr>
              <p:spPr bwMode="auto">
                <a:xfrm>
                  <a:off x="5116930" y="3652860"/>
                  <a:ext cx="252611" cy="153438"/>
                </a:xfrm>
                <a:custGeom>
                  <a:avLst/>
                  <a:gdLst>
                    <a:gd name="T0" fmla="*/ 29 w 33"/>
                    <a:gd name="T1" fmla="*/ 10 h 20"/>
                    <a:gd name="T2" fmla="*/ 31 w 33"/>
                    <a:gd name="T3" fmla="*/ 20 h 20"/>
                    <a:gd name="T4" fmla="*/ 33 w 33"/>
                    <a:gd name="T5" fmla="*/ 20 h 20"/>
                    <a:gd name="T6" fmla="*/ 33 w 33"/>
                    <a:gd name="T7" fmla="*/ 0 h 20"/>
                    <a:gd name="T8" fmla="*/ 1 w 33"/>
                    <a:gd name="T9" fmla="*/ 0 h 20"/>
                    <a:gd name="T10" fmla="*/ 0 w 33"/>
                    <a:gd name="T11" fmla="*/ 8 h 20"/>
                    <a:gd name="T12" fmla="*/ 0 w 33"/>
                    <a:gd name="T13" fmla="*/ 11 h 20"/>
                    <a:gd name="T14" fmla="*/ 30 w 33"/>
                    <a:gd name="T15" fmla="*/ 11 h 20"/>
                    <a:gd name="T16" fmla="*/ 29 w 33"/>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0">
                      <a:moveTo>
                        <a:pt x="29" y="10"/>
                      </a:moveTo>
                      <a:cubicBezTo>
                        <a:pt x="31" y="20"/>
                        <a:pt x="31" y="20"/>
                        <a:pt x="31" y="20"/>
                      </a:cubicBezTo>
                      <a:cubicBezTo>
                        <a:pt x="33" y="20"/>
                        <a:pt x="33" y="20"/>
                        <a:pt x="33" y="20"/>
                      </a:cubicBezTo>
                      <a:cubicBezTo>
                        <a:pt x="33" y="0"/>
                        <a:pt x="33" y="0"/>
                        <a:pt x="33" y="0"/>
                      </a:cubicBezTo>
                      <a:cubicBezTo>
                        <a:pt x="1" y="0"/>
                        <a:pt x="1" y="0"/>
                        <a:pt x="1" y="0"/>
                      </a:cubicBezTo>
                      <a:cubicBezTo>
                        <a:pt x="1" y="2"/>
                        <a:pt x="1" y="5"/>
                        <a:pt x="0" y="8"/>
                      </a:cubicBezTo>
                      <a:cubicBezTo>
                        <a:pt x="0" y="9"/>
                        <a:pt x="0" y="10"/>
                        <a:pt x="0" y="11"/>
                      </a:cubicBezTo>
                      <a:cubicBezTo>
                        <a:pt x="30" y="11"/>
                        <a:pt x="30" y="11"/>
                        <a:pt x="30" y="11"/>
                      </a:cubicBezTo>
                      <a:lnTo>
                        <a:pt x="29" y="10"/>
                      </a:lnTo>
                      <a:close/>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8" name="işļïḑê"/>
                <p:cNvSpPr/>
                <p:nvPr/>
              </p:nvSpPr>
              <p:spPr bwMode="auto">
                <a:xfrm>
                  <a:off x="6202222" y="3652859"/>
                  <a:ext cx="260095" cy="153438"/>
                </a:xfrm>
                <a:custGeom>
                  <a:avLst/>
                  <a:gdLst>
                    <a:gd name="T0" fmla="*/ 34 w 34"/>
                    <a:gd name="T1" fmla="*/ 8 h 20"/>
                    <a:gd name="T2" fmla="*/ 33 w 34"/>
                    <a:gd name="T3" fmla="*/ 0 h 20"/>
                    <a:gd name="T4" fmla="*/ 0 w 34"/>
                    <a:gd name="T5" fmla="*/ 0 h 20"/>
                    <a:gd name="T6" fmla="*/ 1 w 34"/>
                    <a:gd name="T7" fmla="*/ 20 h 20"/>
                    <a:gd name="T8" fmla="*/ 4 w 34"/>
                    <a:gd name="T9" fmla="*/ 20 h 20"/>
                    <a:gd name="T10" fmla="*/ 6 w 34"/>
                    <a:gd name="T11" fmla="*/ 11 h 20"/>
                    <a:gd name="T12" fmla="*/ 34 w 34"/>
                    <a:gd name="T13" fmla="*/ 11 h 20"/>
                    <a:gd name="T14" fmla="*/ 34 w 34"/>
                    <a:gd name="T15" fmla="*/ 8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0">
                      <a:moveTo>
                        <a:pt x="34" y="8"/>
                      </a:moveTo>
                      <a:cubicBezTo>
                        <a:pt x="34" y="5"/>
                        <a:pt x="33" y="2"/>
                        <a:pt x="33" y="0"/>
                      </a:cubicBezTo>
                      <a:cubicBezTo>
                        <a:pt x="0" y="0"/>
                        <a:pt x="0" y="0"/>
                        <a:pt x="0" y="0"/>
                      </a:cubicBezTo>
                      <a:cubicBezTo>
                        <a:pt x="1" y="20"/>
                        <a:pt x="1" y="20"/>
                        <a:pt x="1" y="20"/>
                      </a:cubicBezTo>
                      <a:cubicBezTo>
                        <a:pt x="4" y="20"/>
                        <a:pt x="4" y="20"/>
                        <a:pt x="4" y="20"/>
                      </a:cubicBezTo>
                      <a:cubicBezTo>
                        <a:pt x="6" y="11"/>
                        <a:pt x="6" y="11"/>
                        <a:pt x="6" y="11"/>
                      </a:cubicBezTo>
                      <a:cubicBezTo>
                        <a:pt x="34" y="11"/>
                        <a:pt x="34" y="11"/>
                        <a:pt x="34" y="11"/>
                      </a:cubicBezTo>
                      <a:cubicBezTo>
                        <a:pt x="34" y="10"/>
                        <a:pt x="34" y="9"/>
                        <a:pt x="34" y="8"/>
                      </a:cubicBezTo>
                      <a:close/>
                    </a:path>
                  </a:pathLst>
                </a:custGeom>
                <a:solidFill>
                  <a:srgbClr val="FF8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grpSp>
      </p:gr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5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12" name="Picture 3"/>
          <p:cNvPicPr>
            <a:picLocks noChangeAspect="1"/>
          </p:cNvPicPr>
          <p:nvPr userDrawn="1"/>
        </p:nvPicPr>
        <p:blipFill rotWithShape="1">
          <a:blip r:embed="rId3">
            <a:extLst>
              <a:ext uri="{28A0092B-C50C-407E-A947-70E740481C1C}">
                <a14:useLocalDpi xmlns:a14="http://schemas.microsoft.com/office/drawing/2010/main" val="0"/>
              </a:ext>
            </a:extLst>
          </a:blip>
          <a:srcRect l="8295" t="5975" r="8023" b="12774"/>
          <a:stretch>
            <a:fillRect/>
          </a:stretch>
        </p:blipFill>
        <p:spPr>
          <a:xfrm>
            <a:off x="4063217" y="1481051"/>
            <a:ext cx="7607379" cy="4544378"/>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封面2-2">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stretch>
            <a:fillRect/>
          </a:stretch>
        </p:blipFill>
        <p:spPr>
          <a:xfrm>
            <a:off x="0" y="-1"/>
            <a:ext cx="12192000" cy="4107180"/>
          </a:xfrm>
          <a:prstGeom prst="rect">
            <a:avLst/>
          </a:prstGeom>
        </p:spPr>
      </p:pic>
      <p:sp>
        <p:nvSpPr>
          <p:cNvPr id="111" name="矩形: 单圆角 110"/>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8" name="内容占位符 123"/>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9" name="内容占位符 4"/>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grpSp>
        <p:nvGrpSpPr>
          <p:cNvPr id="60" name="组合 59"/>
          <p:cNvGrpSpPr/>
          <p:nvPr userDrawn="1"/>
        </p:nvGrpSpPr>
        <p:grpSpPr>
          <a:xfrm>
            <a:off x="10477913" y="446123"/>
            <a:ext cx="1234662" cy="419641"/>
            <a:chOff x="1398368" y="5051425"/>
            <a:chExt cx="3242941" cy="1102222"/>
          </a:xfrm>
        </p:grpSpPr>
        <p:sp>
          <p:nvSpPr>
            <p:cNvPr id="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3" name="组合 112"/>
            <p:cNvGrpSpPr/>
            <p:nvPr/>
          </p:nvGrpSpPr>
          <p:grpSpPr>
            <a:xfrm>
              <a:off x="2921957" y="5168150"/>
              <a:ext cx="542765" cy="642593"/>
              <a:chOff x="3102298" y="5183391"/>
              <a:chExt cx="501880" cy="594188"/>
            </a:xfrm>
          </p:grpSpPr>
          <p:sp>
            <p:nvSpPr>
              <p:cNvPr id="160"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1"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7" name="组合 116"/>
            <p:cNvGrpSpPr/>
            <p:nvPr/>
          </p:nvGrpSpPr>
          <p:grpSpPr>
            <a:xfrm>
              <a:off x="4196892" y="5154476"/>
              <a:ext cx="444417" cy="649987"/>
              <a:chOff x="4257853" y="5169716"/>
              <a:chExt cx="410940" cy="601025"/>
            </a:xfrm>
          </p:grpSpPr>
          <p:sp>
            <p:nvSpPr>
              <p:cNvPr id="15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63" name="直接连接符 62"/>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6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515937" y="1196975"/>
            <a:ext cx="11209217" cy="2452255"/>
          </a:xfrm>
          <a:solidFill>
            <a:schemeClr val="accent1">
              <a:lumMod val="20000"/>
              <a:lumOff val="80000"/>
            </a:schemeClr>
          </a:solidFill>
        </p:spPr>
        <p:txBody>
          <a:bodyPr/>
          <a:lstStyle/>
          <a:p>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7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57" name="图片占位符 156"/>
          <p:cNvSpPr>
            <a:spLocks noGrp="1"/>
          </p:cNvSpPr>
          <p:nvPr>
            <p:ph type="pic" sz="quarter" idx="10"/>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lumMod val="20000"/>
              <a:lumOff val="80000"/>
            </a:schemeClr>
          </a:solidFill>
        </p:spPr>
        <p:txBody>
          <a:bodyPr wrap="square">
            <a:noAutofit/>
          </a:bodyPr>
          <a:lstStyle/>
          <a:p>
            <a:endParaRPr lang="en-US"/>
          </a:p>
        </p:txBody>
      </p:sp>
      <p:sp>
        <p:nvSpPr>
          <p:cNvPr id="115" name="ïşḷîḓé"/>
          <p:cNvSpPr/>
          <p:nvPr userDrawn="1"/>
        </p:nvSpPr>
        <p:spPr>
          <a:xfrm>
            <a:off x="4229746" y="1372281"/>
            <a:ext cx="4581751" cy="4581750"/>
          </a:xfrm>
          <a:prstGeom prst="ellipse">
            <a:avLst/>
          </a:prstGeom>
          <a:noFill/>
          <a:ln w="22225">
            <a:solidFill>
              <a:schemeClr val="bg1">
                <a:lumMod val="75000"/>
                <a:alpha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5">
              <a:solidFill>
                <a:schemeClr val="tx1"/>
              </a:solidFill>
              <a:cs typeface="+mn-ea"/>
              <a:sym typeface="+mn-lt"/>
            </a:endParaRPr>
          </a:p>
        </p:txBody>
      </p:sp>
      <p:sp>
        <p:nvSpPr>
          <p:cNvPr id="116" name="ïś1ïḍè"/>
          <p:cNvSpPr/>
          <p:nvPr userDrawn="1"/>
        </p:nvSpPr>
        <p:spPr>
          <a:xfrm>
            <a:off x="4579367" y="1721902"/>
            <a:ext cx="3882508" cy="3882508"/>
          </a:xfrm>
          <a:prstGeom prst="ellipse">
            <a:avLst/>
          </a:prstGeom>
          <a:solidFill>
            <a:schemeClr val="bg1"/>
          </a:solidFill>
          <a:ln w="12700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5">
              <a:solidFill>
                <a:schemeClr val="tx1"/>
              </a:solidFill>
              <a:cs typeface="+mn-ea"/>
              <a:sym typeface="+mn-lt"/>
            </a:endParaRPr>
          </a:p>
        </p:txBody>
      </p:sp>
      <p:grpSp>
        <p:nvGrpSpPr>
          <p:cNvPr id="117" name="组合 116"/>
          <p:cNvGrpSpPr/>
          <p:nvPr userDrawn="1"/>
        </p:nvGrpSpPr>
        <p:grpSpPr>
          <a:xfrm>
            <a:off x="5597075" y="2276966"/>
            <a:ext cx="1847092" cy="2772380"/>
            <a:chOff x="7495980" y="2259422"/>
            <a:chExt cx="1847092" cy="2772380"/>
          </a:xfrm>
        </p:grpSpPr>
        <p:sp>
          <p:nvSpPr>
            <p:cNvPr id="118" name="iṧļîḓè"/>
            <p:cNvSpPr/>
            <p:nvPr/>
          </p:nvSpPr>
          <p:spPr bwMode="auto">
            <a:xfrm>
              <a:off x="7495980" y="2259422"/>
              <a:ext cx="1847092" cy="2772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19" name="isľïde"/>
            <p:cNvSpPr/>
            <p:nvPr/>
          </p:nvSpPr>
          <p:spPr bwMode="auto">
            <a:xfrm>
              <a:off x="8024119" y="2829366"/>
              <a:ext cx="202755" cy="487727"/>
            </a:xfrm>
            <a:custGeom>
              <a:avLst/>
              <a:gdLst>
                <a:gd name="T0" fmla="*/ 23 w 199"/>
                <a:gd name="T1" fmla="*/ 410 h 479"/>
                <a:gd name="T2" fmla="*/ 23 w 199"/>
                <a:gd name="T3" fmla="*/ 410 h 479"/>
                <a:gd name="T4" fmla="*/ 137 w 199"/>
                <a:gd name="T5" fmla="*/ 368 h 479"/>
                <a:gd name="T6" fmla="*/ 57 w 199"/>
                <a:gd name="T7" fmla="*/ 474 h 479"/>
                <a:gd name="T8" fmla="*/ 36 w 199"/>
                <a:gd name="T9" fmla="*/ 477 h 479"/>
                <a:gd name="T10" fmla="*/ 6 w 199"/>
                <a:gd name="T11" fmla="*/ 426 h 479"/>
                <a:gd name="T12" fmla="*/ 6 w 199"/>
                <a:gd name="T13" fmla="*/ 427 h 479"/>
                <a:gd name="T14" fmla="*/ 1 w 199"/>
                <a:gd name="T15" fmla="*/ 382 h 479"/>
                <a:gd name="T16" fmla="*/ 3 w 199"/>
                <a:gd name="T17" fmla="*/ 329 h 479"/>
                <a:gd name="T18" fmla="*/ 3 w 199"/>
                <a:gd name="T19" fmla="*/ 326 h 479"/>
                <a:gd name="T20" fmla="*/ 26 w 199"/>
                <a:gd name="T21" fmla="*/ 206 h 479"/>
                <a:gd name="T22" fmla="*/ 67 w 199"/>
                <a:gd name="T23" fmla="*/ 93 h 479"/>
                <a:gd name="T24" fmla="*/ 120 w 199"/>
                <a:gd name="T25" fmla="*/ 18 h 479"/>
                <a:gd name="T26" fmla="*/ 151 w 199"/>
                <a:gd name="T27" fmla="*/ 4 h 479"/>
                <a:gd name="T28" fmla="*/ 191 w 199"/>
                <a:gd name="T29" fmla="*/ 32 h 479"/>
                <a:gd name="T30" fmla="*/ 184 w 199"/>
                <a:gd name="T31" fmla="*/ 123 h 479"/>
                <a:gd name="T32" fmla="*/ 136 w 199"/>
                <a:gd name="T33" fmla="*/ 247 h 479"/>
                <a:gd name="T34" fmla="*/ 1 w 199"/>
                <a:gd name="T35" fmla="*/ 41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 h="479">
                  <a:moveTo>
                    <a:pt x="23" y="410"/>
                  </a:moveTo>
                  <a:cubicBezTo>
                    <a:pt x="23" y="410"/>
                    <a:pt x="23" y="410"/>
                    <a:pt x="23" y="410"/>
                  </a:cubicBezTo>
                  <a:moveTo>
                    <a:pt x="137" y="368"/>
                  </a:moveTo>
                  <a:cubicBezTo>
                    <a:pt x="109" y="394"/>
                    <a:pt x="88" y="444"/>
                    <a:pt x="57" y="474"/>
                  </a:cubicBezTo>
                  <a:cubicBezTo>
                    <a:pt x="52" y="478"/>
                    <a:pt x="41" y="479"/>
                    <a:pt x="36" y="477"/>
                  </a:cubicBezTo>
                  <a:cubicBezTo>
                    <a:pt x="19" y="468"/>
                    <a:pt x="10" y="444"/>
                    <a:pt x="6" y="426"/>
                  </a:cubicBezTo>
                  <a:moveTo>
                    <a:pt x="6" y="427"/>
                  </a:moveTo>
                  <a:cubicBezTo>
                    <a:pt x="4" y="418"/>
                    <a:pt x="2" y="391"/>
                    <a:pt x="1" y="382"/>
                  </a:cubicBezTo>
                  <a:cubicBezTo>
                    <a:pt x="0" y="364"/>
                    <a:pt x="1" y="346"/>
                    <a:pt x="3" y="329"/>
                  </a:cubicBezTo>
                  <a:cubicBezTo>
                    <a:pt x="3" y="328"/>
                    <a:pt x="3" y="327"/>
                    <a:pt x="3" y="326"/>
                  </a:cubicBezTo>
                  <a:cubicBezTo>
                    <a:pt x="7" y="285"/>
                    <a:pt x="15" y="245"/>
                    <a:pt x="26" y="206"/>
                  </a:cubicBezTo>
                  <a:cubicBezTo>
                    <a:pt x="36" y="167"/>
                    <a:pt x="49" y="129"/>
                    <a:pt x="67" y="93"/>
                  </a:cubicBezTo>
                  <a:cubicBezTo>
                    <a:pt x="80" y="66"/>
                    <a:pt x="96" y="36"/>
                    <a:pt x="120" y="18"/>
                  </a:cubicBezTo>
                  <a:cubicBezTo>
                    <a:pt x="129" y="10"/>
                    <a:pt x="139" y="5"/>
                    <a:pt x="151" y="4"/>
                  </a:cubicBezTo>
                  <a:cubicBezTo>
                    <a:pt x="171" y="0"/>
                    <a:pt x="186" y="13"/>
                    <a:pt x="191" y="32"/>
                  </a:cubicBezTo>
                  <a:cubicBezTo>
                    <a:pt x="199" y="61"/>
                    <a:pt x="191" y="94"/>
                    <a:pt x="184" y="123"/>
                  </a:cubicBezTo>
                  <a:cubicBezTo>
                    <a:pt x="173" y="163"/>
                    <a:pt x="157" y="209"/>
                    <a:pt x="136" y="247"/>
                  </a:cubicBezTo>
                  <a:cubicBezTo>
                    <a:pt x="97" y="318"/>
                    <a:pt x="16" y="404"/>
                    <a:pt x="1" y="419"/>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0" name="iṣļîḑê"/>
            <p:cNvSpPr/>
            <p:nvPr/>
          </p:nvSpPr>
          <p:spPr bwMode="auto">
            <a:xfrm>
              <a:off x="8138386" y="2889287"/>
              <a:ext cx="330261" cy="425716"/>
            </a:xfrm>
            <a:custGeom>
              <a:avLst/>
              <a:gdLst>
                <a:gd name="T0" fmla="*/ 184 w 324"/>
                <a:gd name="T1" fmla="*/ 334 h 418"/>
                <a:gd name="T2" fmla="*/ 159 w 324"/>
                <a:gd name="T3" fmla="*/ 363 h 418"/>
                <a:gd name="T4" fmla="*/ 102 w 324"/>
                <a:gd name="T5" fmla="*/ 402 h 418"/>
                <a:gd name="T6" fmla="*/ 34 w 324"/>
                <a:gd name="T7" fmla="*/ 407 h 418"/>
                <a:gd name="T8" fmla="*/ 21 w 324"/>
                <a:gd name="T9" fmla="*/ 316 h 418"/>
                <a:gd name="T10" fmla="*/ 69 w 324"/>
                <a:gd name="T11" fmla="*/ 250 h 418"/>
                <a:gd name="T12" fmla="*/ 122 w 324"/>
                <a:gd name="T13" fmla="*/ 209 h 418"/>
                <a:gd name="T14" fmla="*/ 198 w 324"/>
                <a:gd name="T15" fmla="*/ 188 h 418"/>
                <a:gd name="T16" fmla="*/ 240 w 324"/>
                <a:gd name="T17" fmla="*/ 199 h 418"/>
                <a:gd name="T18" fmla="*/ 314 w 324"/>
                <a:gd name="T19" fmla="*/ 0 h 418"/>
                <a:gd name="T20" fmla="*/ 319 w 324"/>
                <a:gd name="T21" fmla="*/ 12 h 418"/>
                <a:gd name="T22" fmla="*/ 230 w 324"/>
                <a:gd name="T23" fmla="*/ 220 h 418"/>
                <a:gd name="T24" fmla="*/ 213 w 324"/>
                <a:gd name="T25" fmla="*/ 260 h 418"/>
                <a:gd name="T26" fmla="*/ 198 w 324"/>
                <a:gd name="T27" fmla="*/ 294 h 418"/>
                <a:gd name="T28" fmla="*/ 180 w 324"/>
                <a:gd name="T29" fmla="*/ 346 h 418"/>
                <a:gd name="T30" fmla="*/ 176 w 324"/>
                <a:gd name="T31" fmla="*/ 376 h 418"/>
                <a:gd name="T32" fmla="*/ 180 w 324"/>
                <a:gd name="T33" fmla="*/ 393 h 418"/>
                <a:gd name="T34" fmla="*/ 215 w 324"/>
                <a:gd name="T35" fmla="*/ 377 h 418"/>
                <a:gd name="T36" fmla="*/ 259 w 324"/>
                <a:gd name="T37" fmla="*/ 330 h 418"/>
                <a:gd name="T38" fmla="*/ 288 w 324"/>
                <a:gd name="T39" fmla="*/ 294 h 418"/>
                <a:gd name="T40" fmla="*/ 324 w 324"/>
                <a:gd name="T41" fmla="*/ 251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4" h="418">
                  <a:moveTo>
                    <a:pt x="184" y="334"/>
                  </a:moveTo>
                  <a:cubicBezTo>
                    <a:pt x="183" y="336"/>
                    <a:pt x="170" y="350"/>
                    <a:pt x="159" y="363"/>
                  </a:cubicBezTo>
                  <a:cubicBezTo>
                    <a:pt x="143" y="381"/>
                    <a:pt x="123" y="391"/>
                    <a:pt x="102" y="402"/>
                  </a:cubicBezTo>
                  <a:cubicBezTo>
                    <a:pt x="83" y="411"/>
                    <a:pt x="55" y="418"/>
                    <a:pt x="34" y="407"/>
                  </a:cubicBezTo>
                  <a:cubicBezTo>
                    <a:pt x="0" y="391"/>
                    <a:pt x="9" y="344"/>
                    <a:pt x="21" y="316"/>
                  </a:cubicBezTo>
                  <a:cubicBezTo>
                    <a:pt x="33" y="292"/>
                    <a:pt x="50" y="270"/>
                    <a:pt x="69" y="250"/>
                  </a:cubicBezTo>
                  <a:cubicBezTo>
                    <a:pt x="84" y="234"/>
                    <a:pt x="102" y="219"/>
                    <a:pt x="122" y="209"/>
                  </a:cubicBezTo>
                  <a:cubicBezTo>
                    <a:pt x="145" y="196"/>
                    <a:pt x="171" y="187"/>
                    <a:pt x="198" y="188"/>
                  </a:cubicBezTo>
                  <a:cubicBezTo>
                    <a:pt x="202" y="188"/>
                    <a:pt x="230" y="187"/>
                    <a:pt x="240" y="199"/>
                  </a:cubicBezTo>
                  <a:moveTo>
                    <a:pt x="314" y="0"/>
                  </a:moveTo>
                  <a:cubicBezTo>
                    <a:pt x="319" y="2"/>
                    <a:pt x="322" y="7"/>
                    <a:pt x="319" y="12"/>
                  </a:cubicBezTo>
                  <a:cubicBezTo>
                    <a:pt x="291" y="82"/>
                    <a:pt x="262" y="152"/>
                    <a:pt x="230" y="220"/>
                  </a:cubicBezTo>
                  <a:cubicBezTo>
                    <a:pt x="213" y="260"/>
                    <a:pt x="213" y="260"/>
                    <a:pt x="213" y="260"/>
                  </a:cubicBezTo>
                  <a:cubicBezTo>
                    <a:pt x="198" y="294"/>
                    <a:pt x="198" y="294"/>
                    <a:pt x="198" y="294"/>
                  </a:cubicBezTo>
                  <a:cubicBezTo>
                    <a:pt x="191" y="311"/>
                    <a:pt x="185" y="329"/>
                    <a:pt x="180" y="346"/>
                  </a:cubicBezTo>
                  <a:cubicBezTo>
                    <a:pt x="178" y="356"/>
                    <a:pt x="176" y="366"/>
                    <a:pt x="176" y="376"/>
                  </a:cubicBezTo>
                  <a:cubicBezTo>
                    <a:pt x="176" y="382"/>
                    <a:pt x="176" y="389"/>
                    <a:pt x="180" y="393"/>
                  </a:cubicBezTo>
                  <a:cubicBezTo>
                    <a:pt x="191" y="403"/>
                    <a:pt x="209" y="383"/>
                    <a:pt x="215" y="377"/>
                  </a:cubicBezTo>
                  <a:cubicBezTo>
                    <a:pt x="231" y="363"/>
                    <a:pt x="245" y="347"/>
                    <a:pt x="259" y="330"/>
                  </a:cubicBezTo>
                  <a:cubicBezTo>
                    <a:pt x="288" y="294"/>
                    <a:pt x="288" y="294"/>
                    <a:pt x="288" y="294"/>
                  </a:cubicBezTo>
                  <a:cubicBezTo>
                    <a:pt x="295" y="287"/>
                    <a:pt x="312" y="263"/>
                    <a:pt x="324" y="251"/>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1" name="iSḻïḑe"/>
            <p:cNvSpPr/>
            <p:nvPr/>
          </p:nvSpPr>
          <p:spPr bwMode="auto">
            <a:xfrm>
              <a:off x="8431022" y="3074623"/>
              <a:ext cx="193697" cy="234109"/>
            </a:xfrm>
            <a:custGeom>
              <a:avLst/>
              <a:gdLst>
                <a:gd name="T0" fmla="*/ 190 w 190"/>
                <a:gd name="T1" fmla="*/ 139 h 230"/>
                <a:gd name="T2" fmla="*/ 179 w 190"/>
                <a:gd name="T3" fmla="*/ 150 h 230"/>
                <a:gd name="T4" fmla="*/ 144 w 190"/>
                <a:gd name="T5" fmla="*/ 186 h 230"/>
                <a:gd name="T6" fmla="*/ 47 w 190"/>
                <a:gd name="T7" fmla="*/ 226 h 230"/>
                <a:gd name="T8" fmla="*/ 8 w 190"/>
                <a:gd name="T9" fmla="*/ 199 h 230"/>
                <a:gd name="T10" fmla="*/ 7 w 190"/>
                <a:gd name="T11" fmla="*/ 138 h 230"/>
                <a:gd name="T12" fmla="*/ 70 w 190"/>
                <a:gd name="T13" fmla="*/ 29 h 230"/>
                <a:gd name="T14" fmla="*/ 116 w 190"/>
                <a:gd name="T15" fmla="*/ 3 h 230"/>
                <a:gd name="T16" fmla="*/ 163 w 190"/>
                <a:gd name="T17" fmla="*/ 24 h 230"/>
                <a:gd name="T18" fmla="*/ 122 w 190"/>
                <a:gd name="T19" fmla="*/ 93 h 230"/>
                <a:gd name="T20" fmla="*/ 64 w 190"/>
                <a:gd name="T21" fmla="*/ 119 h 230"/>
                <a:gd name="T22" fmla="*/ 44 w 190"/>
                <a:gd name="T23" fmla="*/ 125 h 230"/>
                <a:gd name="T24" fmla="*/ 9 w 190"/>
                <a:gd name="T25" fmla="*/ 1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230">
                  <a:moveTo>
                    <a:pt x="190" y="139"/>
                  </a:moveTo>
                  <a:cubicBezTo>
                    <a:pt x="179" y="150"/>
                    <a:pt x="179" y="150"/>
                    <a:pt x="179" y="150"/>
                  </a:cubicBezTo>
                  <a:cubicBezTo>
                    <a:pt x="168" y="163"/>
                    <a:pt x="157" y="174"/>
                    <a:pt x="144" y="186"/>
                  </a:cubicBezTo>
                  <a:cubicBezTo>
                    <a:pt x="117" y="208"/>
                    <a:pt x="83" y="230"/>
                    <a:pt x="47" y="226"/>
                  </a:cubicBezTo>
                  <a:cubicBezTo>
                    <a:pt x="30" y="224"/>
                    <a:pt x="15" y="215"/>
                    <a:pt x="8" y="199"/>
                  </a:cubicBezTo>
                  <a:cubicBezTo>
                    <a:pt x="0" y="180"/>
                    <a:pt x="2" y="158"/>
                    <a:pt x="7" y="138"/>
                  </a:cubicBezTo>
                  <a:cubicBezTo>
                    <a:pt x="16" y="97"/>
                    <a:pt x="39" y="57"/>
                    <a:pt x="70" y="29"/>
                  </a:cubicBezTo>
                  <a:cubicBezTo>
                    <a:pt x="83" y="17"/>
                    <a:pt x="99" y="6"/>
                    <a:pt x="116" y="3"/>
                  </a:cubicBezTo>
                  <a:cubicBezTo>
                    <a:pt x="135" y="0"/>
                    <a:pt x="157" y="4"/>
                    <a:pt x="163" y="24"/>
                  </a:cubicBezTo>
                  <a:cubicBezTo>
                    <a:pt x="171" y="53"/>
                    <a:pt x="144" y="79"/>
                    <a:pt x="122" y="93"/>
                  </a:cubicBezTo>
                  <a:cubicBezTo>
                    <a:pt x="104" y="105"/>
                    <a:pt x="84" y="113"/>
                    <a:pt x="64" y="119"/>
                  </a:cubicBezTo>
                  <a:cubicBezTo>
                    <a:pt x="57" y="122"/>
                    <a:pt x="51" y="124"/>
                    <a:pt x="44" y="125"/>
                  </a:cubicBezTo>
                  <a:cubicBezTo>
                    <a:pt x="9" y="130"/>
                    <a:pt x="9" y="130"/>
                    <a:pt x="9" y="130"/>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625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2" name="ï$ḷiďé"/>
            <p:cNvSpPr/>
            <p:nvPr/>
          </p:nvSpPr>
          <p:spPr bwMode="auto">
            <a:xfrm>
              <a:off x="8620539" y="3054417"/>
              <a:ext cx="238289" cy="243167"/>
            </a:xfrm>
            <a:custGeom>
              <a:avLst/>
              <a:gdLst>
                <a:gd name="T0" fmla="*/ 139 w 234"/>
                <a:gd name="T1" fmla="*/ 174 h 239"/>
                <a:gd name="T2" fmla="*/ 82 w 234"/>
                <a:gd name="T3" fmla="*/ 225 h 239"/>
                <a:gd name="T4" fmla="*/ 20 w 234"/>
                <a:gd name="T5" fmla="*/ 226 h 239"/>
                <a:gd name="T6" fmla="*/ 0 w 234"/>
                <a:gd name="T7" fmla="*/ 181 h 239"/>
                <a:gd name="T8" fmla="*/ 19 w 234"/>
                <a:gd name="T9" fmla="*/ 123 h 239"/>
                <a:gd name="T10" fmla="*/ 69 w 234"/>
                <a:gd name="T11" fmla="*/ 58 h 239"/>
                <a:gd name="T12" fmla="*/ 125 w 234"/>
                <a:gd name="T13" fmla="*/ 19 h 239"/>
                <a:gd name="T14" fmla="*/ 206 w 234"/>
                <a:gd name="T15" fmla="*/ 4 h 239"/>
                <a:gd name="T16" fmla="*/ 221 w 234"/>
                <a:gd name="T17" fmla="*/ 7 h 239"/>
                <a:gd name="T18" fmla="*/ 219 w 234"/>
                <a:gd name="T19" fmla="*/ 36 h 239"/>
                <a:gd name="T20" fmla="*/ 188 w 234"/>
                <a:gd name="T21" fmla="*/ 100 h 239"/>
                <a:gd name="T22" fmla="*/ 165 w 234"/>
                <a:gd name="T23" fmla="*/ 135 h 239"/>
                <a:gd name="T24" fmla="*/ 139 w 234"/>
                <a:gd name="T25" fmla="*/ 17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39">
                  <a:moveTo>
                    <a:pt x="139" y="174"/>
                  </a:moveTo>
                  <a:cubicBezTo>
                    <a:pt x="123" y="194"/>
                    <a:pt x="104" y="213"/>
                    <a:pt x="82" y="225"/>
                  </a:cubicBezTo>
                  <a:cubicBezTo>
                    <a:pt x="64" y="234"/>
                    <a:pt x="38" y="239"/>
                    <a:pt x="20" y="226"/>
                  </a:cubicBezTo>
                  <a:cubicBezTo>
                    <a:pt x="6" y="217"/>
                    <a:pt x="0" y="199"/>
                    <a:pt x="0" y="181"/>
                  </a:cubicBezTo>
                  <a:cubicBezTo>
                    <a:pt x="1" y="161"/>
                    <a:pt x="9" y="141"/>
                    <a:pt x="19" y="123"/>
                  </a:cubicBezTo>
                  <a:cubicBezTo>
                    <a:pt x="31" y="98"/>
                    <a:pt x="49" y="77"/>
                    <a:pt x="69" y="58"/>
                  </a:cubicBezTo>
                  <a:cubicBezTo>
                    <a:pt x="86" y="43"/>
                    <a:pt x="104" y="29"/>
                    <a:pt x="125" y="19"/>
                  </a:cubicBezTo>
                  <a:cubicBezTo>
                    <a:pt x="150" y="7"/>
                    <a:pt x="179" y="0"/>
                    <a:pt x="206" y="4"/>
                  </a:cubicBezTo>
                  <a:cubicBezTo>
                    <a:pt x="211" y="5"/>
                    <a:pt x="216" y="5"/>
                    <a:pt x="221" y="7"/>
                  </a:cubicBezTo>
                  <a:cubicBezTo>
                    <a:pt x="234" y="11"/>
                    <a:pt x="223" y="29"/>
                    <a:pt x="219" y="36"/>
                  </a:cubicBezTo>
                  <a:cubicBezTo>
                    <a:pt x="210" y="58"/>
                    <a:pt x="199" y="79"/>
                    <a:pt x="188" y="100"/>
                  </a:cubicBezTo>
                  <a:cubicBezTo>
                    <a:pt x="184" y="106"/>
                    <a:pt x="171" y="128"/>
                    <a:pt x="165" y="135"/>
                  </a:cubicBezTo>
                  <a:cubicBezTo>
                    <a:pt x="158" y="147"/>
                    <a:pt x="151" y="158"/>
                    <a:pt x="139" y="174"/>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625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3" name="íŝ1ïḍè"/>
            <p:cNvSpPr/>
            <p:nvPr/>
          </p:nvSpPr>
          <p:spPr bwMode="auto">
            <a:xfrm>
              <a:off x="7504341" y="2266390"/>
              <a:ext cx="1831763" cy="2166902"/>
            </a:xfrm>
            <a:custGeom>
              <a:avLst/>
              <a:gdLst>
                <a:gd name="T0" fmla="*/ 1797 w 1797"/>
                <a:gd name="T1" fmla="*/ 898 h 2129"/>
                <a:gd name="T2" fmla="*/ 899 w 1797"/>
                <a:gd name="T3" fmla="*/ 0 h 2129"/>
                <a:gd name="T4" fmla="*/ 1 w 1797"/>
                <a:gd name="T5" fmla="*/ 896 h 2129"/>
                <a:gd name="T6" fmla="*/ 329 w 1797"/>
                <a:gd name="T7" fmla="*/ 1592 h 2129"/>
                <a:gd name="T8" fmla="*/ 329 w 1797"/>
                <a:gd name="T9" fmla="*/ 1592 h 2129"/>
                <a:gd name="T10" fmla="*/ 329 w 1797"/>
                <a:gd name="T11" fmla="*/ 1592 h 2129"/>
                <a:gd name="T12" fmla="*/ 373 w 1797"/>
                <a:gd name="T13" fmla="*/ 1627 h 2129"/>
                <a:gd name="T14" fmla="*/ 562 w 1797"/>
                <a:gd name="T15" fmla="*/ 1797 h 2129"/>
                <a:gd name="T16" fmla="*/ 651 w 1797"/>
                <a:gd name="T17" fmla="*/ 2110 h 2129"/>
                <a:gd name="T18" fmla="*/ 671 w 1797"/>
                <a:gd name="T19" fmla="*/ 2129 h 2129"/>
                <a:gd name="T20" fmla="*/ 899 w 1797"/>
                <a:gd name="T21" fmla="*/ 2129 h 2129"/>
                <a:gd name="T22" fmla="*/ 1129 w 1797"/>
                <a:gd name="T23" fmla="*/ 2129 h 2129"/>
                <a:gd name="T24" fmla="*/ 1147 w 1797"/>
                <a:gd name="T25" fmla="*/ 2113 h 2129"/>
                <a:gd name="T26" fmla="*/ 1236 w 1797"/>
                <a:gd name="T27" fmla="*/ 1797 h 2129"/>
                <a:gd name="T28" fmla="*/ 1425 w 1797"/>
                <a:gd name="T29" fmla="*/ 1627 h 2129"/>
                <a:gd name="T30" fmla="*/ 1469 w 1797"/>
                <a:gd name="T31" fmla="*/ 1592 h 2129"/>
                <a:gd name="T32" fmla="*/ 1469 w 1797"/>
                <a:gd name="T33" fmla="*/ 1592 h 2129"/>
                <a:gd name="T34" fmla="*/ 1469 w 1797"/>
                <a:gd name="T35" fmla="*/ 1592 h 2129"/>
                <a:gd name="T36" fmla="*/ 1797 w 1797"/>
                <a:gd name="T37" fmla="*/ 898 h 2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97" h="2129">
                  <a:moveTo>
                    <a:pt x="1797" y="898"/>
                  </a:moveTo>
                  <a:cubicBezTo>
                    <a:pt x="1797" y="402"/>
                    <a:pt x="1395" y="0"/>
                    <a:pt x="899" y="0"/>
                  </a:cubicBezTo>
                  <a:cubicBezTo>
                    <a:pt x="403" y="0"/>
                    <a:pt x="2" y="400"/>
                    <a:pt x="1" y="896"/>
                  </a:cubicBezTo>
                  <a:cubicBezTo>
                    <a:pt x="0" y="1177"/>
                    <a:pt x="128" y="1427"/>
                    <a:pt x="329" y="1592"/>
                  </a:cubicBezTo>
                  <a:cubicBezTo>
                    <a:pt x="329" y="1592"/>
                    <a:pt x="329" y="1592"/>
                    <a:pt x="329" y="1592"/>
                  </a:cubicBezTo>
                  <a:cubicBezTo>
                    <a:pt x="329" y="1592"/>
                    <a:pt x="329" y="1592"/>
                    <a:pt x="329" y="1592"/>
                  </a:cubicBezTo>
                  <a:cubicBezTo>
                    <a:pt x="343" y="1604"/>
                    <a:pt x="358" y="1616"/>
                    <a:pt x="373" y="1627"/>
                  </a:cubicBezTo>
                  <a:cubicBezTo>
                    <a:pt x="429" y="1671"/>
                    <a:pt x="521" y="1746"/>
                    <a:pt x="562" y="1797"/>
                  </a:cubicBezTo>
                  <a:cubicBezTo>
                    <a:pt x="616" y="1865"/>
                    <a:pt x="646" y="2034"/>
                    <a:pt x="651" y="2110"/>
                  </a:cubicBezTo>
                  <a:cubicBezTo>
                    <a:pt x="652" y="2121"/>
                    <a:pt x="660" y="2129"/>
                    <a:pt x="671" y="2129"/>
                  </a:cubicBezTo>
                  <a:cubicBezTo>
                    <a:pt x="899" y="2129"/>
                    <a:pt x="899" y="2129"/>
                    <a:pt x="899" y="2129"/>
                  </a:cubicBezTo>
                  <a:cubicBezTo>
                    <a:pt x="1129" y="2129"/>
                    <a:pt x="1129" y="2129"/>
                    <a:pt x="1129" y="2129"/>
                  </a:cubicBezTo>
                  <a:cubicBezTo>
                    <a:pt x="1139" y="2129"/>
                    <a:pt x="1146" y="2122"/>
                    <a:pt x="1147" y="2113"/>
                  </a:cubicBezTo>
                  <a:cubicBezTo>
                    <a:pt x="1151" y="2038"/>
                    <a:pt x="1181" y="1866"/>
                    <a:pt x="1236" y="1797"/>
                  </a:cubicBezTo>
                  <a:cubicBezTo>
                    <a:pt x="1277" y="1746"/>
                    <a:pt x="1369" y="1671"/>
                    <a:pt x="1425" y="1627"/>
                  </a:cubicBezTo>
                  <a:cubicBezTo>
                    <a:pt x="1440" y="1616"/>
                    <a:pt x="1455" y="1604"/>
                    <a:pt x="1469" y="1592"/>
                  </a:cubicBezTo>
                  <a:cubicBezTo>
                    <a:pt x="1469" y="1592"/>
                    <a:pt x="1469" y="1592"/>
                    <a:pt x="1469" y="1592"/>
                  </a:cubicBezTo>
                  <a:cubicBezTo>
                    <a:pt x="1469" y="1592"/>
                    <a:pt x="1469" y="1592"/>
                    <a:pt x="1469" y="1592"/>
                  </a:cubicBezTo>
                  <a:cubicBezTo>
                    <a:pt x="1670" y="1428"/>
                    <a:pt x="1797" y="1178"/>
                    <a:pt x="1797" y="898"/>
                  </a:cubicBezTo>
                  <a:close/>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4" name="îṡ1ídé"/>
            <p:cNvSpPr/>
            <p:nvPr/>
          </p:nvSpPr>
          <p:spPr bwMode="auto">
            <a:xfrm>
              <a:off x="7721031" y="3074623"/>
              <a:ext cx="622200" cy="1353791"/>
            </a:xfrm>
            <a:custGeom>
              <a:avLst/>
              <a:gdLst>
                <a:gd name="T0" fmla="*/ 610 w 610"/>
                <a:gd name="T1" fmla="*/ 1330 h 1330"/>
                <a:gd name="T2" fmla="*/ 497 w 610"/>
                <a:gd name="T3" fmla="*/ 768 h 1330"/>
                <a:gd name="T4" fmla="*/ 350 w 610"/>
                <a:gd name="T5" fmla="*/ 572 h 1330"/>
                <a:gd name="T6" fmla="*/ 221 w 610"/>
                <a:gd name="T7" fmla="*/ 496 h 1330"/>
                <a:gd name="T8" fmla="*/ 189 w 610"/>
                <a:gd name="T9" fmla="*/ 377 h 1330"/>
                <a:gd name="T10" fmla="*/ 175 w 610"/>
                <a:gd name="T11" fmla="*/ 170 h 1330"/>
                <a:gd name="T12" fmla="*/ 148 w 610"/>
                <a:gd name="T13" fmla="*/ 56 h 1330"/>
                <a:gd name="T14" fmla="*/ 47 w 610"/>
                <a:gd name="T15" fmla="*/ 17 h 1330"/>
                <a:gd name="T16" fmla="*/ 11 w 610"/>
                <a:gd name="T17" fmla="*/ 137 h 1330"/>
                <a:gd name="T18" fmla="*/ 86 w 610"/>
                <a:gd name="T19" fmla="*/ 246 h 1330"/>
                <a:gd name="T20" fmla="*/ 305 w 610"/>
                <a:gd name="T21" fmla="*/ 171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0" h="1330">
                  <a:moveTo>
                    <a:pt x="610" y="1330"/>
                  </a:moveTo>
                  <a:cubicBezTo>
                    <a:pt x="609" y="1138"/>
                    <a:pt x="571" y="945"/>
                    <a:pt x="497" y="768"/>
                  </a:cubicBezTo>
                  <a:cubicBezTo>
                    <a:pt x="465" y="691"/>
                    <a:pt x="422" y="613"/>
                    <a:pt x="350" y="572"/>
                  </a:cubicBezTo>
                  <a:cubicBezTo>
                    <a:pt x="306" y="547"/>
                    <a:pt x="252" y="535"/>
                    <a:pt x="221" y="496"/>
                  </a:cubicBezTo>
                  <a:cubicBezTo>
                    <a:pt x="196" y="463"/>
                    <a:pt x="192" y="419"/>
                    <a:pt x="189" y="377"/>
                  </a:cubicBezTo>
                  <a:cubicBezTo>
                    <a:pt x="184" y="308"/>
                    <a:pt x="180" y="239"/>
                    <a:pt x="175" y="170"/>
                  </a:cubicBezTo>
                  <a:cubicBezTo>
                    <a:pt x="172" y="131"/>
                    <a:pt x="169" y="90"/>
                    <a:pt x="148" y="56"/>
                  </a:cubicBezTo>
                  <a:cubicBezTo>
                    <a:pt x="127" y="23"/>
                    <a:pt x="83" y="0"/>
                    <a:pt x="47" y="17"/>
                  </a:cubicBezTo>
                  <a:cubicBezTo>
                    <a:pt x="6" y="36"/>
                    <a:pt x="0" y="93"/>
                    <a:pt x="11" y="137"/>
                  </a:cubicBezTo>
                  <a:cubicBezTo>
                    <a:pt x="21" y="181"/>
                    <a:pt x="45" y="225"/>
                    <a:pt x="86" y="246"/>
                  </a:cubicBezTo>
                  <a:cubicBezTo>
                    <a:pt x="135" y="272"/>
                    <a:pt x="196" y="271"/>
                    <a:pt x="305" y="171"/>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5" name="îşḻîḑe"/>
            <p:cNvSpPr/>
            <p:nvPr/>
          </p:nvSpPr>
          <p:spPr bwMode="auto">
            <a:xfrm>
              <a:off x="8464467" y="3067655"/>
              <a:ext cx="621504" cy="1360759"/>
            </a:xfrm>
            <a:custGeom>
              <a:avLst/>
              <a:gdLst>
                <a:gd name="T0" fmla="*/ 0 w 610"/>
                <a:gd name="T1" fmla="*/ 1337 h 1337"/>
                <a:gd name="T2" fmla="*/ 113 w 610"/>
                <a:gd name="T3" fmla="*/ 768 h 1337"/>
                <a:gd name="T4" fmla="*/ 260 w 610"/>
                <a:gd name="T5" fmla="*/ 572 h 1337"/>
                <a:gd name="T6" fmla="*/ 388 w 610"/>
                <a:gd name="T7" fmla="*/ 496 h 1337"/>
                <a:gd name="T8" fmla="*/ 421 w 610"/>
                <a:gd name="T9" fmla="*/ 377 h 1337"/>
                <a:gd name="T10" fmla="*/ 426 w 610"/>
                <a:gd name="T11" fmla="*/ 169 h 1337"/>
                <a:gd name="T12" fmla="*/ 464 w 610"/>
                <a:gd name="T13" fmla="*/ 53 h 1337"/>
                <a:gd name="T14" fmla="*/ 562 w 610"/>
                <a:gd name="T15" fmla="*/ 17 h 1337"/>
                <a:gd name="T16" fmla="*/ 599 w 610"/>
                <a:gd name="T17" fmla="*/ 137 h 1337"/>
                <a:gd name="T18" fmla="*/ 518 w 610"/>
                <a:gd name="T19" fmla="*/ 242 h 1337"/>
                <a:gd name="T20" fmla="*/ 335 w 610"/>
                <a:gd name="T21" fmla="*/ 232 h 1337"/>
                <a:gd name="T22" fmla="*/ 354 w 610"/>
                <a:gd name="T23" fmla="*/ 6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0" h="1337">
                  <a:moveTo>
                    <a:pt x="0" y="1337"/>
                  </a:moveTo>
                  <a:cubicBezTo>
                    <a:pt x="0" y="1145"/>
                    <a:pt x="39" y="945"/>
                    <a:pt x="113" y="768"/>
                  </a:cubicBezTo>
                  <a:cubicBezTo>
                    <a:pt x="145" y="691"/>
                    <a:pt x="187" y="613"/>
                    <a:pt x="260" y="572"/>
                  </a:cubicBezTo>
                  <a:cubicBezTo>
                    <a:pt x="303" y="547"/>
                    <a:pt x="357" y="535"/>
                    <a:pt x="388" y="496"/>
                  </a:cubicBezTo>
                  <a:cubicBezTo>
                    <a:pt x="414" y="463"/>
                    <a:pt x="418" y="419"/>
                    <a:pt x="421" y="377"/>
                  </a:cubicBezTo>
                  <a:cubicBezTo>
                    <a:pt x="425" y="308"/>
                    <a:pt x="421" y="238"/>
                    <a:pt x="426" y="169"/>
                  </a:cubicBezTo>
                  <a:cubicBezTo>
                    <a:pt x="429" y="129"/>
                    <a:pt x="443" y="86"/>
                    <a:pt x="464" y="53"/>
                  </a:cubicBezTo>
                  <a:cubicBezTo>
                    <a:pt x="484" y="19"/>
                    <a:pt x="527" y="0"/>
                    <a:pt x="562" y="17"/>
                  </a:cubicBezTo>
                  <a:cubicBezTo>
                    <a:pt x="603" y="36"/>
                    <a:pt x="610" y="93"/>
                    <a:pt x="599" y="137"/>
                  </a:cubicBezTo>
                  <a:cubicBezTo>
                    <a:pt x="589" y="181"/>
                    <a:pt x="555" y="215"/>
                    <a:pt x="518" y="242"/>
                  </a:cubicBezTo>
                  <a:cubicBezTo>
                    <a:pt x="472" y="275"/>
                    <a:pt x="371" y="291"/>
                    <a:pt x="335" y="232"/>
                  </a:cubicBezTo>
                  <a:cubicBezTo>
                    <a:pt x="318" y="205"/>
                    <a:pt x="320" y="134"/>
                    <a:pt x="354" y="61"/>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6" name="isḷiḓè"/>
            <p:cNvSpPr/>
            <p:nvPr/>
          </p:nvSpPr>
          <p:spPr bwMode="auto">
            <a:xfrm>
              <a:off x="8172527" y="4428414"/>
              <a:ext cx="492604" cy="284972"/>
            </a:xfrm>
            <a:prstGeom prst="rect">
              <a:avLst/>
            </a:prstGeom>
            <a:solidFill>
              <a:schemeClr val="bg1">
                <a:lumMod val="85000"/>
              </a:schemeClr>
            </a:solidFill>
            <a:ln>
              <a:noFill/>
            </a:ln>
          </p:spPr>
          <p:txBody>
            <a:bodyPr vert="horz" wrap="square" lIns="91440" tIns="45720" rIns="91440" bIns="45720" numCol="1" anchor="t" anchorCtr="0" compatLnSpc="1">
              <a:normAutofit fontScale="8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7" name="îślíďè"/>
            <p:cNvSpPr/>
            <p:nvPr/>
          </p:nvSpPr>
          <p:spPr bwMode="auto">
            <a:xfrm>
              <a:off x="8172527" y="4732895"/>
              <a:ext cx="495391" cy="22993"/>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8" name="î$1ïḑè"/>
            <p:cNvSpPr/>
            <p:nvPr/>
          </p:nvSpPr>
          <p:spPr bwMode="auto">
            <a:xfrm>
              <a:off x="8172527" y="4776094"/>
              <a:ext cx="495391" cy="23690"/>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9" name="ï$líďe"/>
            <p:cNvSpPr/>
            <p:nvPr/>
          </p:nvSpPr>
          <p:spPr bwMode="auto">
            <a:xfrm>
              <a:off x="8172527" y="4819989"/>
              <a:ext cx="495391" cy="23690"/>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0" name="ïṧḻiḋé"/>
            <p:cNvSpPr/>
            <p:nvPr/>
          </p:nvSpPr>
          <p:spPr bwMode="auto">
            <a:xfrm>
              <a:off x="8172527" y="4863885"/>
              <a:ext cx="495391" cy="133080"/>
            </a:xfrm>
            <a:custGeom>
              <a:avLst/>
              <a:gdLst>
                <a:gd name="T0" fmla="*/ 478 w 486"/>
                <a:gd name="T1" fmla="*/ 0 h 131"/>
                <a:gd name="T2" fmla="*/ 239 w 486"/>
                <a:gd name="T3" fmla="*/ 0 h 131"/>
                <a:gd name="T4" fmla="*/ 231 w 486"/>
                <a:gd name="T5" fmla="*/ 0 h 131"/>
                <a:gd name="T6" fmla="*/ 8 w 486"/>
                <a:gd name="T7" fmla="*/ 0 h 131"/>
                <a:gd name="T8" fmla="*/ 0 w 486"/>
                <a:gd name="T9" fmla="*/ 8 h 131"/>
                <a:gd name="T10" fmla="*/ 53 w 486"/>
                <a:gd name="T11" fmla="*/ 116 h 131"/>
                <a:gd name="T12" fmla="*/ 235 w 486"/>
                <a:gd name="T13" fmla="*/ 131 h 131"/>
                <a:gd name="T14" fmla="*/ 433 w 486"/>
                <a:gd name="T15" fmla="*/ 116 h 131"/>
                <a:gd name="T16" fmla="*/ 486 w 486"/>
                <a:gd name="T17" fmla="*/ 8 h 131"/>
                <a:gd name="T18" fmla="*/ 478 w 486"/>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6" h="131">
                  <a:moveTo>
                    <a:pt x="478" y="0"/>
                  </a:moveTo>
                  <a:cubicBezTo>
                    <a:pt x="239" y="0"/>
                    <a:pt x="239" y="0"/>
                    <a:pt x="239" y="0"/>
                  </a:cubicBezTo>
                  <a:cubicBezTo>
                    <a:pt x="231" y="0"/>
                    <a:pt x="231" y="0"/>
                    <a:pt x="231" y="0"/>
                  </a:cubicBezTo>
                  <a:cubicBezTo>
                    <a:pt x="8" y="0"/>
                    <a:pt x="8" y="0"/>
                    <a:pt x="8" y="0"/>
                  </a:cubicBezTo>
                  <a:cubicBezTo>
                    <a:pt x="4" y="0"/>
                    <a:pt x="0" y="4"/>
                    <a:pt x="0" y="8"/>
                  </a:cubicBezTo>
                  <a:cubicBezTo>
                    <a:pt x="4" y="38"/>
                    <a:pt x="27" y="107"/>
                    <a:pt x="53" y="116"/>
                  </a:cubicBezTo>
                  <a:cubicBezTo>
                    <a:pt x="78" y="125"/>
                    <a:pt x="154" y="131"/>
                    <a:pt x="235" y="131"/>
                  </a:cubicBezTo>
                  <a:cubicBezTo>
                    <a:pt x="316" y="131"/>
                    <a:pt x="408" y="125"/>
                    <a:pt x="433" y="116"/>
                  </a:cubicBezTo>
                  <a:cubicBezTo>
                    <a:pt x="459" y="107"/>
                    <a:pt x="482" y="38"/>
                    <a:pt x="486" y="8"/>
                  </a:cubicBezTo>
                  <a:cubicBezTo>
                    <a:pt x="486" y="4"/>
                    <a:pt x="482" y="0"/>
                    <a:pt x="478" y="0"/>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1" name="isļîďê"/>
            <p:cNvSpPr/>
            <p:nvPr/>
          </p:nvSpPr>
          <p:spPr bwMode="auto">
            <a:xfrm>
              <a:off x="8309091" y="4976759"/>
              <a:ext cx="222264" cy="54347"/>
            </a:xfrm>
            <a:prstGeom prst="rect">
              <a:avLst/>
            </a:pr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2" name="ïś1ïḋe"/>
            <p:cNvSpPr/>
            <p:nvPr/>
          </p:nvSpPr>
          <p:spPr bwMode="auto">
            <a:xfrm>
              <a:off x="8049202" y="4557313"/>
              <a:ext cx="543467" cy="54347"/>
            </a:xfrm>
            <a:prstGeom prst="rect">
              <a:avLst/>
            </a:prstGeom>
            <a:solidFill>
              <a:schemeClr val="accent1"/>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3" name="i$ľîḓê"/>
            <p:cNvSpPr/>
            <p:nvPr/>
          </p:nvSpPr>
          <p:spPr bwMode="auto">
            <a:xfrm>
              <a:off x="8049202" y="4477187"/>
              <a:ext cx="52256" cy="213903"/>
            </a:xfrm>
            <a:prstGeom prst="rect">
              <a:avLst/>
            </a:prstGeom>
            <a:solidFill>
              <a:schemeClr val="accent1"/>
            </a:solidFill>
            <a:ln>
              <a:noFill/>
            </a:ln>
          </p:spPr>
          <p:txBody>
            <a:bodyPr vert="horz" wrap="square" lIns="91440" tIns="45720" rIns="91440" bIns="45720" numCol="1" anchor="t" anchorCtr="0" compatLnSpc="1">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4" name="îŝľîḓè"/>
            <p:cNvSpPr/>
            <p:nvPr/>
          </p:nvSpPr>
          <p:spPr bwMode="auto">
            <a:xfrm>
              <a:off x="8225480" y="4557313"/>
              <a:ext cx="544861" cy="54347"/>
            </a:xfrm>
            <a:prstGeom prst="rect">
              <a:avLst/>
            </a:prstGeom>
            <a:solidFill>
              <a:schemeClr val="accent1"/>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5" name="ïṧlíḋê"/>
            <p:cNvSpPr/>
            <p:nvPr/>
          </p:nvSpPr>
          <p:spPr bwMode="auto">
            <a:xfrm>
              <a:off x="8717388" y="4477187"/>
              <a:ext cx="52953" cy="213903"/>
            </a:xfrm>
            <a:prstGeom prst="rect">
              <a:avLst/>
            </a:prstGeom>
            <a:solidFill>
              <a:schemeClr val="accent1"/>
            </a:solidFill>
            <a:ln>
              <a:noFill/>
            </a:ln>
          </p:spPr>
          <p:txBody>
            <a:bodyPr vert="horz" wrap="square" lIns="91440" tIns="45720" rIns="91440" bIns="45720" numCol="1" anchor="t" anchorCtr="0" compatLnSpc="1">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gr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8_内页仅标题">
    <p:spTree>
      <p:nvGrpSpPr>
        <p:cNvPr id="1" name=""/>
        <p:cNvGrpSpPr/>
        <p:nvPr/>
      </p:nvGrpSpPr>
      <p:grpSpPr>
        <a:xfrm>
          <a:off x="0" y="0"/>
          <a:ext cx="0" cy="0"/>
          <a:chOff x="0" y="0"/>
          <a:chExt cx="0" cy="0"/>
        </a:xfrm>
      </p:grpSpPr>
      <p:sp>
        <p:nvSpPr>
          <p:cNvPr id="126" name="PA-eighth-note_27352"/>
          <p:cNvSpPr>
            <a:spLocks noChangeAspect="1"/>
          </p:cNvSpPr>
          <p:nvPr userDrawn="1">
            <p:custDataLst>
              <p:tags r:id="rId1"/>
            </p:custDataLst>
          </p:nvPr>
        </p:nvSpPr>
        <p:spPr bwMode="auto">
          <a:xfrm>
            <a:off x="4683719" y="1572029"/>
            <a:ext cx="210712" cy="342985"/>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7" name="PA-demisemiquaver_153783"/>
          <p:cNvSpPr>
            <a:spLocks noChangeAspect="1"/>
          </p:cNvSpPr>
          <p:nvPr userDrawn="1">
            <p:custDataLst>
              <p:tags r:id="rId2"/>
            </p:custDataLst>
          </p:nvPr>
        </p:nvSpPr>
        <p:spPr bwMode="auto">
          <a:xfrm>
            <a:off x="3624419" y="2854889"/>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8" name="PA-eighth-note_27352"/>
          <p:cNvSpPr>
            <a:spLocks noChangeAspect="1"/>
          </p:cNvSpPr>
          <p:nvPr userDrawn="1">
            <p:custDataLst>
              <p:tags r:id="rId3"/>
            </p:custDataLst>
          </p:nvPr>
        </p:nvSpPr>
        <p:spPr bwMode="auto">
          <a:xfrm>
            <a:off x="4435017" y="1872837"/>
            <a:ext cx="210712" cy="342985"/>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9" name="PA-eighth-note_27352"/>
          <p:cNvSpPr>
            <a:spLocks noChangeAspect="1"/>
          </p:cNvSpPr>
          <p:nvPr userDrawn="1">
            <p:custDataLst>
              <p:tags r:id="rId4"/>
            </p:custDataLst>
          </p:nvPr>
        </p:nvSpPr>
        <p:spPr bwMode="auto">
          <a:xfrm>
            <a:off x="4118468" y="3765901"/>
            <a:ext cx="138275" cy="225076"/>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0" name="PA-demisemiquaver_153783"/>
          <p:cNvSpPr>
            <a:spLocks noChangeAspect="1"/>
          </p:cNvSpPr>
          <p:nvPr userDrawn="1">
            <p:custDataLst>
              <p:tags r:id="rId5"/>
            </p:custDataLst>
          </p:nvPr>
        </p:nvSpPr>
        <p:spPr bwMode="auto">
          <a:xfrm>
            <a:off x="3736957" y="1896462"/>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1" name="PA-demisemiquaver_153783"/>
          <p:cNvSpPr>
            <a:spLocks noChangeAspect="1"/>
          </p:cNvSpPr>
          <p:nvPr userDrawn="1">
            <p:custDataLst>
              <p:tags r:id="rId6"/>
            </p:custDataLst>
          </p:nvPr>
        </p:nvSpPr>
        <p:spPr bwMode="auto">
          <a:xfrm>
            <a:off x="4059647" y="3435980"/>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2" name="PA-demisemiquaver_153783"/>
          <p:cNvSpPr>
            <a:spLocks noChangeAspect="1"/>
          </p:cNvSpPr>
          <p:nvPr userDrawn="1">
            <p:custDataLst>
              <p:tags r:id="rId7"/>
            </p:custDataLst>
          </p:nvPr>
        </p:nvSpPr>
        <p:spPr bwMode="auto">
          <a:xfrm>
            <a:off x="4124669" y="2016511"/>
            <a:ext cx="281567" cy="281468"/>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pic>
        <p:nvPicPr>
          <p:cNvPr id="4" name="图片 3"/>
          <p:cNvPicPr>
            <a:picLocks noChangeAspect="1"/>
          </p:cNvPicPr>
          <p:nvPr userDrawn="1"/>
        </p:nvPicPr>
        <p:blipFill>
          <a:blip r:embed="rId1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PA-组合 28"/>
          <p:cNvGrpSpPr/>
          <p:nvPr userDrawn="1">
            <p:custDataLst>
              <p:tags r:id="rId8"/>
            </p:custDataLst>
          </p:nvPr>
        </p:nvGrpSpPr>
        <p:grpSpPr>
          <a:xfrm>
            <a:off x="793935" y="1419056"/>
            <a:ext cx="4656839" cy="4656839"/>
            <a:chOff x="1815157" y="1345388"/>
            <a:chExt cx="4656839" cy="4656839"/>
          </a:xfrm>
          <a:effectLst>
            <a:outerShdw blurRad="127000" dist="38100" dir="2700000" algn="tl" rotWithShape="0">
              <a:schemeClr val="accent1">
                <a:alpha val="40000"/>
              </a:schemeClr>
            </a:outerShdw>
          </a:effectLst>
        </p:grpSpPr>
        <p:sp>
          <p:nvSpPr>
            <p:cNvPr id="113" name="PA-椭圆 11"/>
            <p:cNvSpPr/>
            <p:nvPr>
              <p:custDataLst>
                <p:tags r:id="rId9"/>
              </p:custDataLst>
            </p:nvPr>
          </p:nvSpPr>
          <p:spPr>
            <a:xfrm>
              <a:off x="1815157" y="1345388"/>
              <a:ext cx="4656839" cy="465683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14" name="PA-图片 12"/>
            <p:cNvPicPr/>
            <p:nvPr>
              <p:custDataLst>
                <p:tags r:id="rId10"/>
              </p:custDataLst>
            </p:nvPr>
          </p:nvPicPr>
          <p:blipFill rotWithShape="1">
            <a:blip r:embed="rId13" cstate="email"/>
            <a:srcRect/>
            <a:stretch>
              <a:fillRect/>
            </a:stretch>
          </p:blipFill>
          <p:spPr>
            <a:xfrm>
              <a:off x="2523577" y="2053808"/>
              <a:ext cx="3240000" cy="3240000"/>
            </a:xfrm>
            <a:prstGeom prst="ellipse">
              <a:avLst/>
            </a:prstGeom>
            <a:noFill/>
            <a:ln w="9525">
              <a:noFill/>
            </a:ln>
            <a:effectLst>
              <a:outerShdw blurRad="127000" dist="38100" dir="2700000" algn="tl" rotWithShape="0">
                <a:prstClr val="black">
                  <a:alpha val="40000"/>
                </a:prstClr>
              </a:outerShdw>
            </a:effectLst>
          </p:spPr>
        </p:pic>
      </p:grpSp>
      <p:sp>
        <p:nvSpPr>
          <p:cNvPr id="115" name="矩形 114"/>
          <p:cNvSpPr/>
          <p:nvPr userDrawn="1"/>
        </p:nvSpPr>
        <p:spPr>
          <a:xfrm rot="20075021">
            <a:off x="140281" y="2707649"/>
            <a:ext cx="101301" cy="1145015"/>
          </a:xfrm>
          <a:prstGeom prst="rect">
            <a:avLst/>
          </a:prstGeom>
          <a:gradFill flip="none" rotWithShape="1">
            <a:gsLst>
              <a:gs pos="0">
                <a:schemeClr val="bg1">
                  <a:lumMod val="8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116" name="组合 115"/>
          <p:cNvGrpSpPr/>
          <p:nvPr userDrawn="1"/>
        </p:nvGrpSpPr>
        <p:grpSpPr>
          <a:xfrm>
            <a:off x="405659" y="3656618"/>
            <a:ext cx="978402" cy="390639"/>
            <a:chOff x="1319024" y="3614377"/>
            <a:chExt cx="978402" cy="390639"/>
          </a:xfrm>
        </p:grpSpPr>
        <p:sp>
          <p:nvSpPr>
            <p:cNvPr id="117" name="矩形: 圆角 116"/>
            <p:cNvSpPr/>
            <p:nvPr/>
          </p:nvSpPr>
          <p:spPr>
            <a:xfrm rot="348119" flipH="1">
              <a:off x="1319024" y="3684806"/>
              <a:ext cx="539427" cy="100800"/>
            </a:xfrm>
            <a:prstGeom prst="roundRect">
              <a:avLst/>
            </a:prstGeom>
            <a:gradFill flip="none" rotWithShape="1">
              <a:gsLst>
                <a:gs pos="0">
                  <a:schemeClr val="bg1">
                    <a:lumMod val="85000"/>
                  </a:schemeClr>
                </a:gs>
                <a:gs pos="100000">
                  <a:schemeClr val="bg1">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cs typeface="+mn-ea"/>
                <a:sym typeface="+mn-lt"/>
              </a:endParaRPr>
            </a:p>
          </p:txBody>
        </p:sp>
        <p:grpSp>
          <p:nvGrpSpPr>
            <p:cNvPr id="118" name="组合 117"/>
            <p:cNvGrpSpPr/>
            <p:nvPr/>
          </p:nvGrpSpPr>
          <p:grpSpPr>
            <a:xfrm rot="20360457">
              <a:off x="1833874" y="3614377"/>
              <a:ext cx="463552" cy="390639"/>
              <a:chOff x="4562461" y="2905072"/>
              <a:chExt cx="796664" cy="671357"/>
            </a:xfrm>
          </p:grpSpPr>
          <p:sp>
            <p:nvSpPr>
              <p:cNvPr id="121" name="矩形: 圆角 120"/>
              <p:cNvSpPr/>
              <p:nvPr/>
            </p:nvSpPr>
            <p:spPr>
              <a:xfrm rot="1367580">
                <a:off x="4562461" y="2947079"/>
                <a:ext cx="673241" cy="349751"/>
              </a:xfrm>
              <a:prstGeom prst="roundRect">
                <a:avLst>
                  <a:gd name="adj" fmla="val 2785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22" name="矩形: 圆角 121"/>
              <p:cNvSpPr/>
              <p:nvPr/>
            </p:nvSpPr>
            <p:spPr>
              <a:xfrm rot="1367580">
                <a:off x="5004454" y="2905072"/>
                <a:ext cx="354671" cy="671357"/>
              </a:xfrm>
              <a:prstGeom prst="roundRect">
                <a:avLst>
                  <a:gd name="adj" fmla="val 27856"/>
                </a:avLst>
              </a:prstGeom>
              <a:solidFill>
                <a:schemeClr val="bg1">
                  <a:lumMod val="9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cxnSp>
          <p:nvCxnSpPr>
            <p:cNvPr id="119" name="直接连接符 118"/>
            <p:cNvCxnSpPr/>
            <p:nvPr/>
          </p:nvCxnSpPr>
          <p:spPr>
            <a:xfrm rot="20360457">
              <a:off x="2130190" y="3692023"/>
              <a:ext cx="111985" cy="4791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p:nvCxnSpPr>
          <p:spPr>
            <a:xfrm rot="20360457">
              <a:off x="2130094" y="3794966"/>
              <a:ext cx="111985" cy="4791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23" name="组合 122"/>
          <p:cNvGrpSpPr/>
          <p:nvPr userDrawn="1"/>
        </p:nvGrpSpPr>
        <p:grpSpPr>
          <a:xfrm>
            <a:off x="-260480" y="2655812"/>
            <a:ext cx="498803" cy="498803"/>
            <a:chOff x="1868826" y="-564674"/>
            <a:chExt cx="574344" cy="574344"/>
          </a:xfrm>
        </p:grpSpPr>
        <p:sp>
          <p:nvSpPr>
            <p:cNvPr id="124" name="椭圆 123"/>
            <p:cNvSpPr/>
            <p:nvPr/>
          </p:nvSpPr>
          <p:spPr>
            <a:xfrm>
              <a:off x="1868826" y="-564674"/>
              <a:ext cx="574344" cy="57434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125" name="椭圆 124"/>
            <p:cNvSpPr/>
            <p:nvPr/>
          </p:nvSpPr>
          <p:spPr>
            <a:xfrm>
              <a:off x="1967287" y="-466214"/>
              <a:ext cx="377422" cy="377422"/>
            </a:xfrm>
            <a:prstGeom prst="ellipse">
              <a:avLst/>
            </a:prstGeom>
            <a:solidFill>
              <a:schemeClr val="tx1">
                <a:lumMod val="65000"/>
                <a:lumOff val="3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7" name="图片占位符 6"/>
          <p:cNvSpPr>
            <a:spLocks noGrp="1"/>
          </p:cNvSpPr>
          <p:nvPr>
            <p:ph type="pic" sz="quarter" idx="10"/>
          </p:nvPr>
        </p:nvSpPr>
        <p:spPr>
          <a:xfrm>
            <a:off x="1502355" y="2127476"/>
            <a:ext cx="3240000" cy="3240000"/>
          </a:xfrm>
          <a:prstGeom prst="ellipse">
            <a:avLst/>
          </a:prstGeom>
          <a:solidFill>
            <a:srgbClr val="00B0F0"/>
          </a:solidFill>
        </p:spPr>
        <p:txBody>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repeatCount="indefinite" fill="hold" nodeType="clickEffect">
                                  <p:stCondLst>
                                    <p:cond delay="0"/>
                                  </p:stCondLst>
                                  <p:endCondLst>
                                    <p:cond evt="onNext" delay="0">
                                      <p:tgtEl>
                                        <p:sldTgt/>
                                      </p:tgtEl>
                                    </p:cond>
                                  </p:endCondLst>
                                  <p:childTnLst>
                                    <p:animRot by="21600000">
                                      <p:cBhvr>
                                        <p:cTn id="6" dur="20000" fill="hold"/>
                                        <p:tgtEl>
                                          <p:spTgt spid="112"/>
                                        </p:tgtEl>
                                        <p:attrNameLst>
                                          <p:attrName>r</p:attrName>
                                        </p:attrNameLst>
                                      </p:cBhvr>
                                    </p:animRot>
                                  </p:childTnLst>
                                </p:cTn>
                              </p:par>
                              <p:par>
                                <p:cTn id="7" presetID="8" presetClass="emph" presetSubtype="0" repeatCount="indefinite" fill="hold" grpId="0" nodeType="withEffect">
                                  <p:stCondLst>
                                    <p:cond delay="0"/>
                                  </p:stCondLst>
                                  <p:endCondLst>
                                    <p:cond evt="onNext" delay="0">
                                      <p:tgtEl>
                                        <p:sldTgt/>
                                      </p:tgtEl>
                                    </p:cond>
                                  </p:endCondLst>
                                  <p:childTnLst>
                                    <p:animRot by="21600000">
                                      <p:cBhvr>
                                        <p:cTn id="8" dur="20000" fill="hold"/>
                                        <p:tgtEl>
                                          <p:spTgt spid="7"/>
                                        </p:tgtEl>
                                        <p:attrNameLst>
                                          <p:attrName>r</p:attrName>
                                        </p:attrNameLst>
                                      </p:cBhvr>
                                    </p:animRot>
                                  </p:childTnLst>
                                </p:cTn>
                              </p:par>
                              <p:par>
                                <p:cTn id="9" presetID="53" presetClass="entr" presetSubtype="16" repeatCount="indefinite" fill="hold" nodeType="withEffect">
                                  <p:stCondLst>
                                    <p:cond delay="1526"/>
                                  </p:stCondLst>
                                  <p:endCondLst>
                                    <p:cond evt="onNext" delay="0">
                                      <p:tgtEl>
                                        <p:sldTgt/>
                                      </p:tgtEl>
                                    </p:cond>
                                  </p:endCondLst>
                                  <p:childTnLst>
                                    <p:set>
                                      <p:cBhvr>
                                        <p:cTn id="10" dur="1" fill="hold">
                                          <p:stCondLst>
                                            <p:cond delay="0"/>
                                          </p:stCondLst>
                                        </p:cTn>
                                        <p:tgtEl>
                                          <p:spTgt spid="128"/>
                                        </p:tgtEl>
                                        <p:attrNameLst>
                                          <p:attrName>style.visibility</p:attrName>
                                        </p:attrNameLst>
                                      </p:cBhvr>
                                      <p:to>
                                        <p:strVal val="visible"/>
                                      </p:to>
                                    </p:set>
                                    <p:anim calcmode="lin" valueType="num">
                                      <p:cBhvr>
                                        <p:cTn id="11" dur="500" fill="hold"/>
                                        <p:tgtEl>
                                          <p:spTgt spid="128"/>
                                        </p:tgtEl>
                                        <p:attrNameLst>
                                          <p:attrName>ppt_w</p:attrName>
                                        </p:attrNameLst>
                                      </p:cBhvr>
                                      <p:tavLst>
                                        <p:tav tm="0">
                                          <p:val>
                                            <p:fltVal val="0"/>
                                          </p:val>
                                        </p:tav>
                                        <p:tav tm="100000">
                                          <p:val>
                                            <p:strVal val="#ppt_w"/>
                                          </p:val>
                                        </p:tav>
                                      </p:tavLst>
                                    </p:anim>
                                    <p:anim calcmode="lin" valueType="num">
                                      <p:cBhvr>
                                        <p:cTn id="12" dur="500" fill="hold"/>
                                        <p:tgtEl>
                                          <p:spTgt spid="128"/>
                                        </p:tgtEl>
                                        <p:attrNameLst>
                                          <p:attrName>ppt_h</p:attrName>
                                        </p:attrNameLst>
                                      </p:cBhvr>
                                      <p:tavLst>
                                        <p:tav tm="0">
                                          <p:val>
                                            <p:fltVal val="0"/>
                                          </p:val>
                                        </p:tav>
                                        <p:tav tm="100000">
                                          <p:val>
                                            <p:strVal val="#ppt_h"/>
                                          </p:val>
                                        </p:tav>
                                      </p:tavLst>
                                    </p:anim>
                                    <p:animEffect transition="in" filter="fade">
                                      <p:cBhvr>
                                        <p:cTn id="13" dur="500"/>
                                        <p:tgtEl>
                                          <p:spTgt spid="128"/>
                                        </p:tgtEl>
                                      </p:cBhvr>
                                    </p:animEffect>
                                    <p:animMotion origin="layout" path="M 4.16667E-6 -2.96296E-6 L 0.11132 -0.10995 " pathEditMode="relative">
                                      <p:cBhvr>
                                        <p:cTn id="14" dur="2000" accel="50000" decel="50000" fill="hold">
                                          <p:stCondLst>
                                            <p:cond delay="0"/>
                                          </p:stCondLst>
                                        </p:cTn>
                                        <p:tgtEl>
                                          <p:spTgt spid="128"/>
                                        </p:tgtEl>
                                        <p:attrNameLst>
                                          <p:attrName>ppt_x</p:attrName>
                                          <p:attrName>ppt_y</p:attrName>
                                        </p:attrNameLst>
                                      </p:cBhvr>
                                    </p:animMotion>
                                    <p:anim to="" calcmode="lin" valueType="num">
                                      <p:cBhvr>
                                        <p:cTn id="15" dur="500" fill="hold">
                                          <p:stCondLst>
                                            <p:cond delay="1500"/>
                                          </p:stCondLst>
                                        </p:cTn>
                                        <p:tgtEl>
                                          <p:spTgt spid="128"/>
                                        </p:tgtEl>
                                        <p:attrNameLst>
                                          <p:attrName>ppt_w</p:attrName>
                                        </p:attrNameLst>
                                      </p:cBhvr>
                                      <p:tavLst>
                                        <p:tav tm="0">
                                          <p:val>
                                            <p:strVal val="ppt_w"/>
                                          </p:val>
                                        </p:tav>
                                        <p:tav tm="100000">
                                          <p:val>
                                            <p:fltVal val="0"/>
                                          </p:val>
                                        </p:tav>
                                      </p:tavLst>
                                    </p:anim>
                                    <p:anim to="" calcmode="lin" valueType="num">
                                      <p:cBhvr>
                                        <p:cTn id="16" dur="500" fill="hold">
                                          <p:stCondLst>
                                            <p:cond delay="1500"/>
                                          </p:stCondLst>
                                        </p:cTn>
                                        <p:tgtEl>
                                          <p:spTgt spid="128"/>
                                        </p:tgtEl>
                                        <p:attrNameLst>
                                          <p:attrName>ppt_h</p:attrName>
                                        </p:attrNameLst>
                                      </p:cBhvr>
                                      <p:tavLst>
                                        <p:tav tm="0">
                                          <p:val>
                                            <p:strVal val="ppt_h"/>
                                          </p:val>
                                        </p:tav>
                                        <p:tav tm="100000">
                                          <p:val>
                                            <p:fltVal val="0"/>
                                          </p:val>
                                        </p:tav>
                                      </p:tavLst>
                                    </p:anim>
                                    <p:animEffect transition="out" filter="fade">
                                      <p:cBhvr>
                                        <p:cTn id="17" dur="500">
                                          <p:stCondLst>
                                            <p:cond delay="1500"/>
                                          </p:stCondLst>
                                        </p:cTn>
                                        <p:tgtEl>
                                          <p:spTgt spid="128"/>
                                        </p:tgtEl>
                                      </p:cBhvr>
                                    </p:animEffect>
                                    <p:set>
                                      <p:cBhvr>
                                        <p:cTn id="18" dur="1" fill="hold">
                                          <p:stCondLst>
                                            <p:cond delay="1999"/>
                                          </p:stCondLst>
                                        </p:cTn>
                                        <p:tgtEl>
                                          <p:spTgt spid="128"/>
                                        </p:tgtEl>
                                        <p:attrNameLst>
                                          <p:attrName>style.visibility</p:attrName>
                                        </p:attrNameLst>
                                      </p:cBhvr>
                                      <p:to>
                                        <p:strVal val="hidden"/>
                                      </p:to>
                                    </p:set>
                                  </p:childTnLst>
                                </p:cTn>
                              </p:par>
                              <p:par>
                                <p:cTn id="19" presetID="53" presetClass="entr" presetSubtype="16" repeatCount="indefinite" fill="hold" nodeType="withEffect">
                                  <p:stCondLst>
                                    <p:cond delay="518"/>
                                  </p:stCondLst>
                                  <p:endCondLst>
                                    <p:cond evt="onNext" delay="0">
                                      <p:tgtEl>
                                        <p:sldTgt/>
                                      </p:tgtEl>
                                    </p:cond>
                                  </p:endCondLst>
                                  <p:childTnLst>
                                    <p:set>
                                      <p:cBhvr>
                                        <p:cTn id="20" dur="1" fill="hold">
                                          <p:stCondLst>
                                            <p:cond delay="0"/>
                                          </p:stCondLst>
                                        </p:cTn>
                                        <p:tgtEl>
                                          <p:spTgt spid="132"/>
                                        </p:tgtEl>
                                        <p:attrNameLst>
                                          <p:attrName>style.visibility</p:attrName>
                                        </p:attrNameLst>
                                      </p:cBhvr>
                                      <p:to>
                                        <p:strVal val="visible"/>
                                      </p:to>
                                    </p:set>
                                    <p:anim calcmode="lin" valueType="num">
                                      <p:cBhvr>
                                        <p:cTn id="21" dur="500" fill="hold"/>
                                        <p:tgtEl>
                                          <p:spTgt spid="132"/>
                                        </p:tgtEl>
                                        <p:attrNameLst>
                                          <p:attrName>ppt_w</p:attrName>
                                        </p:attrNameLst>
                                      </p:cBhvr>
                                      <p:tavLst>
                                        <p:tav tm="0">
                                          <p:val>
                                            <p:fltVal val="0"/>
                                          </p:val>
                                        </p:tav>
                                        <p:tav tm="100000">
                                          <p:val>
                                            <p:strVal val="#ppt_w"/>
                                          </p:val>
                                        </p:tav>
                                      </p:tavLst>
                                    </p:anim>
                                    <p:anim calcmode="lin" valueType="num">
                                      <p:cBhvr>
                                        <p:cTn id="22" dur="500" fill="hold"/>
                                        <p:tgtEl>
                                          <p:spTgt spid="132"/>
                                        </p:tgtEl>
                                        <p:attrNameLst>
                                          <p:attrName>ppt_h</p:attrName>
                                        </p:attrNameLst>
                                      </p:cBhvr>
                                      <p:tavLst>
                                        <p:tav tm="0">
                                          <p:val>
                                            <p:fltVal val="0"/>
                                          </p:val>
                                        </p:tav>
                                        <p:tav tm="100000">
                                          <p:val>
                                            <p:strVal val="#ppt_h"/>
                                          </p:val>
                                        </p:tav>
                                      </p:tavLst>
                                    </p:anim>
                                    <p:animEffect transition="in" filter="fade">
                                      <p:cBhvr>
                                        <p:cTn id="23" dur="500"/>
                                        <p:tgtEl>
                                          <p:spTgt spid="132"/>
                                        </p:tgtEl>
                                      </p:cBhvr>
                                    </p:animEffect>
                                    <p:animMotion origin="layout" path="M 4.16667E-6 -2.96296E-6 L 0.11132 -0.10995 " pathEditMode="relative">
                                      <p:cBhvr>
                                        <p:cTn id="24" dur="2000" accel="50000" decel="50000" fill="hold">
                                          <p:stCondLst>
                                            <p:cond delay="0"/>
                                          </p:stCondLst>
                                        </p:cTn>
                                        <p:tgtEl>
                                          <p:spTgt spid="132"/>
                                        </p:tgtEl>
                                        <p:attrNameLst>
                                          <p:attrName>ppt_x</p:attrName>
                                          <p:attrName>ppt_y</p:attrName>
                                        </p:attrNameLst>
                                      </p:cBhvr>
                                    </p:animMotion>
                                    <p:anim to="" calcmode="lin" valueType="num">
                                      <p:cBhvr>
                                        <p:cTn id="25" dur="500" fill="hold">
                                          <p:stCondLst>
                                            <p:cond delay="1500"/>
                                          </p:stCondLst>
                                        </p:cTn>
                                        <p:tgtEl>
                                          <p:spTgt spid="132"/>
                                        </p:tgtEl>
                                        <p:attrNameLst>
                                          <p:attrName>ppt_w</p:attrName>
                                        </p:attrNameLst>
                                      </p:cBhvr>
                                      <p:tavLst>
                                        <p:tav tm="0">
                                          <p:val>
                                            <p:strVal val="ppt_w"/>
                                          </p:val>
                                        </p:tav>
                                        <p:tav tm="100000">
                                          <p:val>
                                            <p:fltVal val="0"/>
                                          </p:val>
                                        </p:tav>
                                      </p:tavLst>
                                    </p:anim>
                                    <p:anim to="" calcmode="lin" valueType="num">
                                      <p:cBhvr>
                                        <p:cTn id="26" dur="500" fill="hold">
                                          <p:stCondLst>
                                            <p:cond delay="1500"/>
                                          </p:stCondLst>
                                        </p:cTn>
                                        <p:tgtEl>
                                          <p:spTgt spid="132"/>
                                        </p:tgtEl>
                                        <p:attrNameLst>
                                          <p:attrName>ppt_h</p:attrName>
                                        </p:attrNameLst>
                                      </p:cBhvr>
                                      <p:tavLst>
                                        <p:tav tm="0">
                                          <p:val>
                                            <p:strVal val="ppt_h"/>
                                          </p:val>
                                        </p:tav>
                                        <p:tav tm="100000">
                                          <p:val>
                                            <p:fltVal val="0"/>
                                          </p:val>
                                        </p:tav>
                                      </p:tavLst>
                                    </p:anim>
                                    <p:animEffect transition="out" filter="fade">
                                      <p:cBhvr>
                                        <p:cTn id="27" dur="500">
                                          <p:stCondLst>
                                            <p:cond delay="1500"/>
                                          </p:stCondLst>
                                        </p:cTn>
                                        <p:tgtEl>
                                          <p:spTgt spid="132"/>
                                        </p:tgtEl>
                                      </p:cBhvr>
                                    </p:animEffect>
                                    <p:set>
                                      <p:cBhvr>
                                        <p:cTn id="28" dur="1" fill="hold">
                                          <p:stCondLst>
                                            <p:cond delay="1999"/>
                                          </p:stCondLst>
                                        </p:cTn>
                                        <p:tgtEl>
                                          <p:spTgt spid="132"/>
                                        </p:tgtEl>
                                        <p:attrNameLst>
                                          <p:attrName>style.visibility</p:attrName>
                                        </p:attrNameLst>
                                      </p:cBhvr>
                                      <p:to>
                                        <p:strVal val="hidden"/>
                                      </p:to>
                                    </p:set>
                                  </p:childTnLst>
                                </p:cTn>
                              </p:par>
                              <p:par>
                                <p:cTn id="29" presetID="53" presetClass="entr" presetSubtype="16" repeatCount="indefinite" fill="hold" nodeType="withEffect">
                                  <p:stCondLst>
                                    <p:cond delay="2515"/>
                                  </p:stCondLst>
                                  <p:endCondLst>
                                    <p:cond evt="onNext" delay="0">
                                      <p:tgtEl>
                                        <p:sldTgt/>
                                      </p:tgtEl>
                                    </p:cond>
                                  </p:endCondLst>
                                  <p:childTnLst>
                                    <p:set>
                                      <p:cBhvr>
                                        <p:cTn id="30" dur="1" fill="hold">
                                          <p:stCondLst>
                                            <p:cond delay="0"/>
                                          </p:stCondLst>
                                        </p:cTn>
                                        <p:tgtEl>
                                          <p:spTgt spid="129"/>
                                        </p:tgtEl>
                                        <p:attrNameLst>
                                          <p:attrName>style.visibility</p:attrName>
                                        </p:attrNameLst>
                                      </p:cBhvr>
                                      <p:to>
                                        <p:strVal val="visible"/>
                                      </p:to>
                                    </p:set>
                                    <p:anim calcmode="lin" valueType="num">
                                      <p:cBhvr>
                                        <p:cTn id="31" dur="500" fill="hold"/>
                                        <p:tgtEl>
                                          <p:spTgt spid="129"/>
                                        </p:tgtEl>
                                        <p:attrNameLst>
                                          <p:attrName>ppt_w</p:attrName>
                                        </p:attrNameLst>
                                      </p:cBhvr>
                                      <p:tavLst>
                                        <p:tav tm="0">
                                          <p:val>
                                            <p:fltVal val="0"/>
                                          </p:val>
                                        </p:tav>
                                        <p:tav tm="100000">
                                          <p:val>
                                            <p:strVal val="#ppt_w"/>
                                          </p:val>
                                        </p:tav>
                                      </p:tavLst>
                                    </p:anim>
                                    <p:anim calcmode="lin" valueType="num">
                                      <p:cBhvr>
                                        <p:cTn id="32" dur="500" fill="hold"/>
                                        <p:tgtEl>
                                          <p:spTgt spid="129"/>
                                        </p:tgtEl>
                                        <p:attrNameLst>
                                          <p:attrName>ppt_h</p:attrName>
                                        </p:attrNameLst>
                                      </p:cBhvr>
                                      <p:tavLst>
                                        <p:tav tm="0">
                                          <p:val>
                                            <p:fltVal val="0"/>
                                          </p:val>
                                        </p:tav>
                                        <p:tav tm="100000">
                                          <p:val>
                                            <p:strVal val="#ppt_h"/>
                                          </p:val>
                                        </p:tav>
                                      </p:tavLst>
                                    </p:anim>
                                    <p:animEffect transition="in" filter="fade">
                                      <p:cBhvr>
                                        <p:cTn id="33" dur="500"/>
                                        <p:tgtEl>
                                          <p:spTgt spid="129"/>
                                        </p:tgtEl>
                                      </p:cBhvr>
                                    </p:animEffect>
                                    <p:animMotion origin="layout" path="M 4.16667E-6 -2.96296E-6 L 0.11132 -0.10995 " pathEditMode="relative">
                                      <p:cBhvr>
                                        <p:cTn id="34" dur="2000" accel="50000" decel="50000" fill="hold">
                                          <p:stCondLst>
                                            <p:cond delay="0"/>
                                          </p:stCondLst>
                                        </p:cTn>
                                        <p:tgtEl>
                                          <p:spTgt spid="129"/>
                                        </p:tgtEl>
                                        <p:attrNameLst>
                                          <p:attrName>ppt_x</p:attrName>
                                          <p:attrName>ppt_y</p:attrName>
                                        </p:attrNameLst>
                                      </p:cBhvr>
                                    </p:animMotion>
                                    <p:anim to="" calcmode="lin" valueType="num">
                                      <p:cBhvr>
                                        <p:cTn id="35" dur="500" fill="hold">
                                          <p:stCondLst>
                                            <p:cond delay="1500"/>
                                          </p:stCondLst>
                                        </p:cTn>
                                        <p:tgtEl>
                                          <p:spTgt spid="129"/>
                                        </p:tgtEl>
                                        <p:attrNameLst>
                                          <p:attrName>ppt_w</p:attrName>
                                        </p:attrNameLst>
                                      </p:cBhvr>
                                      <p:tavLst>
                                        <p:tav tm="0">
                                          <p:val>
                                            <p:strVal val="ppt_w"/>
                                          </p:val>
                                        </p:tav>
                                        <p:tav tm="100000">
                                          <p:val>
                                            <p:fltVal val="0"/>
                                          </p:val>
                                        </p:tav>
                                      </p:tavLst>
                                    </p:anim>
                                    <p:anim to="" calcmode="lin" valueType="num">
                                      <p:cBhvr>
                                        <p:cTn id="36" dur="500" fill="hold">
                                          <p:stCondLst>
                                            <p:cond delay="1500"/>
                                          </p:stCondLst>
                                        </p:cTn>
                                        <p:tgtEl>
                                          <p:spTgt spid="129"/>
                                        </p:tgtEl>
                                        <p:attrNameLst>
                                          <p:attrName>ppt_h</p:attrName>
                                        </p:attrNameLst>
                                      </p:cBhvr>
                                      <p:tavLst>
                                        <p:tav tm="0">
                                          <p:val>
                                            <p:strVal val="ppt_h"/>
                                          </p:val>
                                        </p:tav>
                                        <p:tav tm="100000">
                                          <p:val>
                                            <p:fltVal val="0"/>
                                          </p:val>
                                        </p:tav>
                                      </p:tavLst>
                                    </p:anim>
                                    <p:animEffect transition="out" filter="fade">
                                      <p:cBhvr>
                                        <p:cTn id="37" dur="500">
                                          <p:stCondLst>
                                            <p:cond delay="1500"/>
                                          </p:stCondLst>
                                        </p:cTn>
                                        <p:tgtEl>
                                          <p:spTgt spid="129"/>
                                        </p:tgtEl>
                                      </p:cBhvr>
                                    </p:animEffect>
                                    <p:set>
                                      <p:cBhvr>
                                        <p:cTn id="38" dur="1" fill="hold">
                                          <p:stCondLst>
                                            <p:cond delay="1999"/>
                                          </p:stCondLst>
                                        </p:cTn>
                                        <p:tgtEl>
                                          <p:spTgt spid="129"/>
                                        </p:tgtEl>
                                        <p:attrNameLst>
                                          <p:attrName>style.visibility</p:attrName>
                                        </p:attrNameLst>
                                      </p:cBhvr>
                                      <p:to>
                                        <p:strVal val="hidden"/>
                                      </p:to>
                                    </p:set>
                                  </p:childTnLst>
                                </p:cTn>
                              </p:par>
                              <p:par>
                                <p:cTn id="39" presetID="53" presetClass="entr" presetSubtype="16" repeatCount="indefinite" fill="hold" nodeType="withEffect">
                                  <p:stCondLst>
                                    <p:cond delay="1099"/>
                                  </p:stCondLst>
                                  <p:endCondLst>
                                    <p:cond evt="onNext" delay="0">
                                      <p:tgtEl>
                                        <p:sldTgt/>
                                      </p:tgtEl>
                                    </p:cond>
                                  </p:endCondLst>
                                  <p:childTnLst>
                                    <p:set>
                                      <p:cBhvr>
                                        <p:cTn id="40" dur="1" fill="hold">
                                          <p:stCondLst>
                                            <p:cond delay="0"/>
                                          </p:stCondLst>
                                        </p:cTn>
                                        <p:tgtEl>
                                          <p:spTgt spid="130"/>
                                        </p:tgtEl>
                                        <p:attrNameLst>
                                          <p:attrName>style.visibility</p:attrName>
                                        </p:attrNameLst>
                                      </p:cBhvr>
                                      <p:to>
                                        <p:strVal val="visible"/>
                                      </p:to>
                                    </p:set>
                                    <p:anim calcmode="lin" valueType="num">
                                      <p:cBhvr>
                                        <p:cTn id="41" dur="500" fill="hold"/>
                                        <p:tgtEl>
                                          <p:spTgt spid="130"/>
                                        </p:tgtEl>
                                        <p:attrNameLst>
                                          <p:attrName>ppt_w</p:attrName>
                                        </p:attrNameLst>
                                      </p:cBhvr>
                                      <p:tavLst>
                                        <p:tav tm="0">
                                          <p:val>
                                            <p:fltVal val="0"/>
                                          </p:val>
                                        </p:tav>
                                        <p:tav tm="100000">
                                          <p:val>
                                            <p:strVal val="#ppt_w"/>
                                          </p:val>
                                        </p:tav>
                                      </p:tavLst>
                                    </p:anim>
                                    <p:anim calcmode="lin" valueType="num">
                                      <p:cBhvr>
                                        <p:cTn id="42" dur="500" fill="hold"/>
                                        <p:tgtEl>
                                          <p:spTgt spid="130"/>
                                        </p:tgtEl>
                                        <p:attrNameLst>
                                          <p:attrName>ppt_h</p:attrName>
                                        </p:attrNameLst>
                                      </p:cBhvr>
                                      <p:tavLst>
                                        <p:tav tm="0">
                                          <p:val>
                                            <p:fltVal val="0"/>
                                          </p:val>
                                        </p:tav>
                                        <p:tav tm="100000">
                                          <p:val>
                                            <p:strVal val="#ppt_h"/>
                                          </p:val>
                                        </p:tav>
                                      </p:tavLst>
                                    </p:anim>
                                    <p:animEffect transition="in" filter="fade">
                                      <p:cBhvr>
                                        <p:cTn id="43" dur="500"/>
                                        <p:tgtEl>
                                          <p:spTgt spid="130"/>
                                        </p:tgtEl>
                                      </p:cBhvr>
                                    </p:animEffect>
                                    <p:animMotion origin="layout" path="M 4.16667E-6 -2.96296E-6 L 0.11132 -0.10995 " pathEditMode="relative">
                                      <p:cBhvr>
                                        <p:cTn id="44" dur="2000" accel="50000" decel="50000" fill="hold">
                                          <p:stCondLst>
                                            <p:cond delay="0"/>
                                          </p:stCondLst>
                                        </p:cTn>
                                        <p:tgtEl>
                                          <p:spTgt spid="130"/>
                                        </p:tgtEl>
                                        <p:attrNameLst>
                                          <p:attrName>ppt_x</p:attrName>
                                          <p:attrName>ppt_y</p:attrName>
                                        </p:attrNameLst>
                                      </p:cBhvr>
                                    </p:animMotion>
                                    <p:anim to="" calcmode="lin" valueType="num">
                                      <p:cBhvr>
                                        <p:cTn id="45" dur="500" fill="hold">
                                          <p:stCondLst>
                                            <p:cond delay="1500"/>
                                          </p:stCondLst>
                                        </p:cTn>
                                        <p:tgtEl>
                                          <p:spTgt spid="130"/>
                                        </p:tgtEl>
                                        <p:attrNameLst>
                                          <p:attrName>ppt_w</p:attrName>
                                        </p:attrNameLst>
                                      </p:cBhvr>
                                      <p:tavLst>
                                        <p:tav tm="0">
                                          <p:val>
                                            <p:strVal val="ppt_w"/>
                                          </p:val>
                                        </p:tav>
                                        <p:tav tm="100000">
                                          <p:val>
                                            <p:fltVal val="0"/>
                                          </p:val>
                                        </p:tav>
                                      </p:tavLst>
                                    </p:anim>
                                    <p:anim to="" calcmode="lin" valueType="num">
                                      <p:cBhvr>
                                        <p:cTn id="46" dur="500" fill="hold">
                                          <p:stCondLst>
                                            <p:cond delay="1500"/>
                                          </p:stCondLst>
                                        </p:cTn>
                                        <p:tgtEl>
                                          <p:spTgt spid="130"/>
                                        </p:tgtEl>
                                        <p:attrNameLst>
                                          <p:attrName>ppt_h</p:attrName>
                                        </p:attrNameLst>
                                      </p:cBhvr>
                                      <p:tavLst>
                                        <p:tav tm="0">
                                          <p:val>
                                            <p:strVal val="ppt_h"/>
                                          </p:val>
                                        </p:tav>
                                        <p:tav tm="100000">
                                          <p:val>
                                            <p:fltVal val="0"/>
                                          </p:val>
                                        </p:tav>
                                      </p:tavLst>
                                    </p:anim>
                                    <p:animEffect transition="out" filter="fade">
                                      <p:cBhvr>
                                        <p:cTn id="47" dur="500">
                                          <p:stCondLst>
                                            <p:cond delay="1500"/>
                                          </p:stCondLst>
                                        </p:cTn>
                                        <p:tgtEl>
                                          <p:spTgt spid="130"/>
                                        </p:tgtEl>
                                      </p:cBhvr>
                                    </p:animEffect>
                                    <p:set>
                                      <p:cBhvr>
                                        <p:cTn id="48" dur="1" fill="hold">
                                          <p:stCondLst>
                                            <p:cond delay="1999"/>
                                          </p:stCondLst>
                                        </p:cTn>
                                        <p:tgtEl>
                                          <p:spTgt spid="130"/>
                                        </p:tgtEl>
                                        <p:attrNameLst>
                                          <p:attrName>style.visibility</p:attrName>
                                        </p:attrNameLst>
                                      </p:cBhvr>
                                      <p:to>
                                        <p:strVal val="hidden"/>
                                      </p:to>
                                    </p:set>
                                  </p:childTnLst>
                                </p:cTn>
                              </p:par>
                              <p:par>
                                <p:cTn id="49" presetID="53" presetClass="entr" presetSubtype="16" repeatCount="indefinite" fill="hold" nodeType="withEffect">
                                  <p:stCondLst>
                                    <p:cond delay="742"/>
                                  </p:stCondLst>
                                  <p:endCondLst>
                                    <p:cond evt="onNext" delay="0">
                                      <p:tgtEl>
                                        <p:sldTgt/>
                                      </p:tgtEl>
                                    </p:cond>
                                  </p:endCondLst>
                                  <p:childTnLst>
                                    <p:set>
                                      <p:cBhvr>
                                        <p:cTn id="50" dur="1" fill="hold">
                                          <p:stCondLst>
                                            <p:cond delay="0"/>
                                          </p:stCondLst>
                                        </p:cTn>
                                        <p:tgtEl>
                                          <p:spTgt spid="131"/>
                                        </p:tgtEl>
                                        <p:attrNameLst>
                                          <p:attrName>style.visibility</p:attrName>
                                        </p:attrNameLst>
                                      </p:cBhvr>
                                      <p:to>
                                        <p:strVal val="visible"/>
                                      </p:to>
                                    </p:set>
                                    <p:anim calcmode="lin" valueType="num">
                                      <p:cBhvr>
                                        <p:cTn id="51" dur="500" fill="hold"/>
                                        <p:tgtEl>
                                          <p:spTgt spid="131"/>
                                        </p:tgtEl>
                                        <p:attrNameLst>
                                          <p:attrName>ppt_w</p:attrName>
                                        </p:attrNameLst>
                                      </p:cBhvr>
                                      <p:tavLst>
                                        <p:tav tm="0">
                                          <p:val>
                                            <p:fltVal val="0"/>
                                          </p:val>
                                        </p:tav>
                                        <p:tav tm="100000">
                                          <p:val>
                                            <p:strVal val="#ppt_w"/>
                                          </p:val>
                                        </p:tav>
                                      </p:tavLst>
                                    </p:anim>
                                    <p:anim calcmode="lin" valueType="num">
                                      <p:cBhvr>
                                        <p:cTn id="52" dur="500" fill="hold"/>
                                        <p:tgtEl>
                                          <p:spTgt spid="131"/>
                                        </p:tgtEl>
                                        <p:attrNameLst>
                                          <p:attrName>ppt_h</p:attrName>
                                        </p:attrNameLst>
                                      </p:cBhvr>
                                      <p:tavLst>
                                        <p:tav tm="0">
                                          <p:val>
                                            <p:fltVal val="0"/>
                                          </p:val>
                                        </p:tav>
                                        <p:tav tm="100000">
                                          <p:val>
                                            <p:strVal val="#ppt_h"/>
                                          </p:val>
                                        </p:tav>
                                      </p:tavLst>
                                    </p:anim>
                                    <p:animEffect transition="in" filter="fade">
                                      <p:cBhvr>
                                        <p:cTn id="53" dur="500"/>
                                        <p:tgtEl>
                                          <p:spTgt spid="131"/>
                                        </p:tgtEl>
                                      </p:cBhvr>
                                    </p:animEffect>
                                    <p:animMotion origin="layout" path="M 4.16667E-6 -2.96296E-6 L 0.11132 -0.10995 " pathEditMode="relative">
                                      <p:cBhvr>
                                        <p:cTn id="54" dur="2000" accel="50000" decel="50000" fill="hold">
                                          <p:stCondLst>
                                            <p:cond delay="0"/>
                                          </p:stCondLst>
                                        </p:cTn>
                                        <p:tgtEl>
                                          <p:spTgt spid="131"/>
                                        </p:tgtEl>
                                        <p:attrNameLst>
                                          <p:attrName>ppt_x</p:attrName>
                                          <p:attrName>ppt_y</p:attrName>
                                        </p:attrNameLst>
                                      </p:cBhvr>
                                    </p:animMotion>
                                    <p:anim to="" calcmode="lin" valueType="num">
                                      <p:cBhvr>
                                        <p:cTn id="55" dur="500" fill="hold">
                                          <p:stCondLst>
                                            <p:cond delay="1500"/>
                                          </p:stCondLst>
                                        </p:cTn>
                                        <p:tgtEl>
                                          <p:spTgt spid="131"/>
                                        </p:tgtEl>
                                        <p:attrNameLst>
                                          <p:attrName>ppt_w</p:attrName>
                                        </p:attrNameLst>
                                      </p:cBhvr>
                                      <p:tavLst>
                                        <p:tav tm="0">
                                          <p:val>
                                            <p:strVal val="ppt_w"/>
                                          </p:val>
                                        </p:tav>
                                        <p:tav tm="100000">
                                          <p:val>
                                            <p:fltVal val="0"/>
                                          </p:val>
                                        </p:tav>
                                      </p:tavLst>
                                    </p:anim>
                                    <p:anim to="" calcmode="lin" valueType="num">
                                      <p:cBhvr>
                                        <p:cTn id="56" dur="500" fill="hold">
                                          <p:stCondLst>
                                            <p:cond delay="1500"/>
                                          </p:stCondLst>
                                        </p:cTn>
                                        <p:tgtEl>
                                          <p:spTgt spid="131"/>
                                        </p:tgtEl>
                                        <p:attrNameLst>
                                          <p:attrName>ppt_h</p:attrName>
                                        </p:attrNameLst>
                                      </p:cBhvr>
                                      <p:tavLst>
                                        <p:tav tm="0">
                                          <p:val>
                                            <p:strVal val="ppt_h"/>
                                          </p:val>
                                        </p:tav>
                                        <p:tav tm="100000">
                                          <p:val>
                                            <p:fltVal val="0"/>
                                          </p:val>
                                        </p:tav>
                                      </p:tavLst>
                                    </p:anim>
                                    <p:animEffect transition="out" filter="fade">
                                      <p:cBhvr>
                                        <p:cTn id="57" dur="500">
                                          <p:stCondLst>
                                            <p:cond delay="1500"/>
                                          </p:stCondLst>
                                        </p:cTn>
                                        <p:tgtEl>
                                          <p:spTgt spid="131"/>
                                        </p:tgtEl>
                                      </p:cBhvr>
                                    </p:animEffect>
                                    <p:set>
                                      <p:cBhvr>
                                        <p:cTn id="58" dur="1" fill="hold">
                                          <p:stCondLst>
                                            <p:cond delay="1999"/>
                                          </p:stCondLst>
                                        </p:cTn>
                                        <p:tgtEl>
                                          <p:spTgt spid="131"/>
                                        </p:tgtEl>
                                        <p:attrNameLst>
                                          <p:attrName>style.visibility</p:attrName>
                                        </p:attrNameLst>
                                      </p:cBhvr>
                                      <p:to>
                                        <p:strVal val="hidden"/>
                                      </p:to>
                                    </p:set>
                                  </p:childTnLst>
                                </p:cTn>
                              </p:par>
                              <p:par>
                                <p:cTn id="59" presetID="53" presetClass="entr" presetSubtype="16" repeatCount="indefinite" fill="hold" nodeType="withEffect">
                                  <p:stCondLst>
                                    <p:cond delay="955"/>
                                  </p:stCondLst>
                                  <p:endCondLst>
                                    <p:cond evt="onNext" delay="0">
                                      <p:tgtEl>
                                        <p:sldTgt/>
                                      </p:tgtEl>
                                    </p:cond>
                                  </p:endCondLst>
                                  <p:childTnLst>
                                    <p:set>
                                      <p:cBhvr>
                                        <p:cTn id="60" dur="1" fill="hold">
                                          <p:stCondLst>
                                            <p:cond delay="0"/>
                                          </p:stCondLst>
                                        </p:cTn>
                                        <p:tgtEl>
                                          <p:spTgt spid="127"/>
                                        </p:tgtEl>
                                        <p:attrNameLst>
                                          <p:attrName>style.visibility</p:attrName>
                                        </p:attrNameLst>
                                      </p:cBhvr>
                                      <p:to>
                                        <p:strVal val="visible"/>
                                      </p:to>
                                    </p:set>
                                    <p:anim calcmode="lin" valueType="num">
                                      <p:cBhvr>
                                        <p:cTn id="61" dur="500" fill="hold"/>
                                        <p:tgtEl>
                                          <p:spTgt spid="127"/>
                                        </p:tgtEl>
                                        <p:attrNameLst>
                                          <p:attrName>ppt_w</p:attrName>
                                        </p:attrNameLst>
                                      </p:cBhvr>
                                      <p:tavLst>
                                        <p:tav tm="0">
                                          <p:val>
                                            <p:fltVal val="0"/>
                                          </p:val>
                                        </p:tav>
                                        <p:tav tm="100000">
                                          <p:val>
                                            <p:strVal val="#ppt_w"/>
                                          </p:val>
                                        </p:tav>
                                      </p:tavLst>
                                    </p:anim>
                                    <p:anim calcmode="lin" valueType="num">
                                      <p:cBhvr>
                                        <p:cTn id="62" dur="500" fill="hold"/>
                                        <p:tgtEl>
                                          <p:spTgt spid="127"/>
                                        </p:tgtEl>
                                        <p:attrNameLst>
                                          <p:attrName>ppt_h</p:attrName>
                                        </p:attrNameLst>
                                      </p:cBhvr>
                                      <p:tavLst>
                                        <p:tav tm="0">
                                          <p:val>
                                            <p:fltVal val="0"/>
                                          </p:val>
                                        </p:tav>
                                        <p:tav tm="100000">
                                          <p:val>
                                            <p:strVal val="#ppt_h"/>
                                          </p:val>
                                        </p:tav>
                                      </p:tavLst>
                                    </p:anim>
                                    <p:animEffect transition="in" filter="fade">
                                      <p:cBhvr>
                                        <p:cTn id="63" dur="500"/>
                                        <p:tgtEl>
                                          <p:spTgt spid="127"/>
                                        </p:tgtEl>
                                      </p:cBhvr>
                                    </p:animEffect>
                                    <p:animMotion origin="layout" path="M 4.16667E-6 -2.96296E-6 L 0.11132 -0.10995 " pathEditMode="relative">
                                      <p:cBhvr>
                                        <p:cTn id="64" dur="2000" accel="50000" decel="50000" fill="hold">
                                          <p:stCondLst>
                                            <p:cond delay="0"/>
                                          </p:stCondLst>
                                        </p:cTn>
                                        <p:tgtEl>
                                          <p:spTgt spid="127"/>
                                        </p:tgtEl>
                                        <p:attrNameLst>
                                          <p:attrName>ppt_x</p:attrName>
                                          <p:attrName>ppt_y</p:attrName>
                                        </p:attrNameLst>
                                      </p:cBhvr>
                                    </p:animMotion>
                                    <p:anim to="" calcmode="lin" valueType="num">
                                      <p:cBhvr>
                                        <p:cTn id="65" dur="500" fill="hold">
                                          <p:stCondLst>
                                            <p:cond delay="1500"/>
                                          </p:stCondLst>
                                        </p:cTn>
                                        <p:tgtEl>
                                          <p:spTgt spid="127"/>
                                        </p:tgtEl>
                                        <p:attrNameLst>
                                          <p:attrName>ppt_w</p:attrName>
                                        </p:attrNameLst>
                                      </p:cBhvr>
                                      <p:tavLst>
                                        <p:tav tm="0">
                                          <p:val>
                                            <p:strVal val="ppt_w"/>
                                          </p:val>
                                        </p:tav>
                                        <p:tav tm="100000">
                                          <p:val>
                                            <p:fltVal val="0"/>
                                          </p:val>
                                        </p:tav>
                                      </p:tavLst>
                                    </p:anim>
                                    <p:anim to="" calcmode="lin" valueType="num">
                                      <p:cBhvr>
                                        <p:cTn id="66" dur="500" fill="hold">
                                          <p:stCondLst>
                                            <p:cond delay="1500"/>
                                          </p:stCondLst>
                                        </p:cTn>
                                        <p:tgtEl>
                                          <p:spTgt spid="127"/>
                                        </p:tgtEl>
                                        <p:attrNameLst>
                                          <p:attrName>ppt_h</p:attrName>
                                        </p:attrNameLst>
                                      </p:cBhvr>
                                      <p:tavLst>
                                        <p:tav tm="0">
                                          <p:val>
                                            <p:strVal val="ppt_h"/>
                                          </p:val>
                                        </p:tav>
                                        <p:tav tm="100000">
                                          <p:val>
                                            <p:fltVal val="0"/>
                                          </p:val>
                                        </p:tav>
                                      </p:tavLst>
                                    </p:anim>
                                    <p:animEffect transition="out" filter="fade">
                                      <p:cBhvr>
                                        <p:cTn id="67" dur="500">
                                          <p:stCondLst>
                                            <p:cond delay="1500"/>
                                          </p:stCondLst>
                                        </p:cTn>
                                        <p:tgtEl>
                                          <p:spTgt spid="127"/>
                                        </p:tgtEl>
                                      </p:cBhvr>
                                    </p:animEffect>
                                    <p:set>
                                      <p:cBhvr>
                                        <p:cTn id="68" dur="1" fill="hold">
                                          <p:stCondLst>
                                            <p:cond delay="1999"/>
                                          </p:stCondLst>
                                        </p:cTn>
                                        <p:tgtEl>
                                          <p:spTgt spid="127"/>
                                        </p:tgtEl>
                                        <p:attrNameLst>
                                          <p:attrName>style.visibility</p:attrName>
                                        </p:attrNameLst>
                                      </p:cBhvr>
                                      <p:to>
                                        <p:strVal val="hidden"/>
                                      </p:to>
                                    </p:set>
                                  </p:childTnLst>
                                </p:cTn>
                              </p:par>
                              <p:par>
                                <p:cTn id="69" presetID="53" presetClass="entr" presetSubtype="16" repeatCount="indefinite" fill="hold" nodeType="withEffect">
                                  <p:stCondLst>
                                    <p:cond delay="36"/>
                                  </p:stCondLst>
                                  <p:endCondLst>
                                    <p:cond evt="onNext" delay="0">
                                      <p:tgtEl>
                                        <p:sldTgt/>
                                      </p:tgtEl>
                                    </p:cond>
                                  </p:endCondLst>
                                  <p:childTnLst>
                                    <p:set>
                                      <p:cBhvr>
                                        <p:cTn id="70" dur="1" fill="hold">
                                          <p:stCondLst>
                                            <p:cond delay="0"/>
                                          </p:stCondLst>
                                        </p:cTn>
                                        <p:tgtEl>
                                          <p:spTgt spid="126"/>
                                        </p:tgtEl>
                                        <p:attrNameLst>
                                          <p:attrName>style.visibility</p:attrName>
                                        </p:attrNameLst>
                                      </p:cBhvr>
                                      <p:to>
                                        <p:strVal val="visible"/>
                                      </p:to>
                                    </p:set>
                                    <p:anim calcmode="lin" valueType="num">
                                      <p:cBhvr>
                                        <p:cTn id="71" dur="500" fill="hold"/>
                                        <p:tgtEl>
                                          <p:spTgt spid="126"/>
                                        </p:tgtEl>
                                        <p:attrNameLst>
                                          <p:attrName>ppt_w</p:attrName>
                                        </p:attrNameLst>
                                      </p:cBhvr>
                                      <p:tavLst>
                                        <p:tav tm="0">
                                          <p:val>
                                            <p:fltVal val="0"/>
                                          </p:val>
                                        </p:tav>
                                        <p:tav tm="100000">
                                          <p:val>
                                            <p:strVal val="#ppt_w"/>
                                          </p:val>
                                        </p:tav>
                                      </p:tavLst>
                                    </p:anim>
                                    <p:anim calcmode="lin" valueType="num">
                                      <p:cBhvr>
                                        <p:cTn id="72" dur="500" fill="hold"/>
                                        <p:tgtEl>
                                          <p:spTgt spid="126"/>
                                        </p:tgtEl>
                                        <p:attrNameLst>
                                          <p:attrName>ppt_h</p:attrName>
                                        </p:attrNameLst>
                                      </p:cBhvr>
                                      <p:tavLst>
                                        <p:tav tm="0">
                                          <p:val>
                                            <p:fltVal val="0"/>
                                          </p:val>
                                        </p:tav>
                                        <p:tav tm="100000">
                                          <p:val>
                                            <p:strVal val="#ppt_h"/>
                                          </p:val>
                                        </p:tav>
                                      </p:tavLst>
                                    </p:anim>
                                    <p:animEffect transition="in" filter="fade">
                                      <p:cBhvr>
                                        <p:cTn id="73" dur="500"/>
                                        <p:tgtEl>
                                          <p:spTgt spid="126"/>
                                        </p:tgtEl>
                                      </p:cBhvr>
                                    </p:animEffect>
                                    <p:animMotion origin="layout" path="M 4.16667E-6 -2.96296E-6 L 0.11132 -0.10995 " pathEditMode="relative">
                                      <p:cBhvr>
                                        <p:cTn id="74" dur="2000" accel="50000" decel="50000" fill="hold">
                                          <p:stCondLst>
                                            <p:cond delay="0"/>
                                          </p:stCondLst>
                                        </p:cTn>
                                        <p:tgtEl>
                                          <p:spTgt spid="126"/>
                                        </p:tgtEl>
                                        <p:attrNameLst>
                                          <p:attrName>ppt_x</p:attrName>
                                          <p:attrName>ppt_y</p:attrName>
                                        </p:attrNameLst>
                                      </p:cBhvr>
                                    </p:animMotion>
                                    <p:anim to="" calcmode="lin" valueType="num">
                                      <p:cBhvr>
                                        <p:cTn id="75" dur="500" fill="hold">
                                          <p:stCondLst>
                                            <p:cond delay="1500"/>
                                          </p:stCondLst>
                                        </p:cTn>
                                        <p:tgtEl>
                                          <p:spTgt spid="126"/>
                                        </p:tgtEl>
                                        <p:attrNameLst>
                                          <p:attrName>ppt_w</p:attrName>
                                        </p:attrNameLst>
                                      </p:cBhvr>
                                      <p:tavLst>
                                        <p:tav tm="0">
                                          <p:val>
                                            <p:strVal val="ppt_w"/>
                                          </p:val>
                                        </p:tav>
                                        <p:tav tm="100000">
                                          <p:val>
                                            <p:fltVal val="0"/>
                                          </p:val>
                                        </p:tav>
                                      </p:tavLst>
                                    </p:anim>
                                    <p:anim to="" calcmode="lin" valueType="num">
                                      <p:cBhvr>
                                        <p:cTn id="76" dur="500" fill="hold">
                                          <p:stCondLst>
                                            <p:cond delay="1500"/>
                                          </p:stCondLst>
                                        </p:cTn>
                                        <p:tgtEl>
                                          <p:spTgt spid="126"/>
                                        </p:tgtEl>
                                        <p:attrNameLst>
                                          <p:attrName>ppt_h</p:attrName>
                                        </p:attrNameLst>
                                      </p:cBhvr>
                                      <p:tavLst>
                                        <p:tav tm="0">
                                          <p:val>
                                            <p:strVal val="ppt_h"/>
                                          </p:val>
                                        </p:tav>
                                        <p:tav tm="100000">
                                          <p:val>
                                            <p:fltVal val="0"/>
                                          </p:val>
                                        </p:tav>
                                      </p:tavLst>
                                    </p:anim>
                                    <p:animEffect transition="out" filter="fade">
                                      <p:cBhvr>
                                        <p:cTn id="77" dur="500">
                                          <p:stCondLst>
                                            <p:cond delay="1500"/>
                                          </p:stCondLst>
                                        </p:cTn>
                                        <p:tgtEl>
                                          <p:spTgt spid="126"/>
                                        </p:tgtEl>
                                      </p:cBhvr>
                                    </p:animEffect>
                                    <p:set>
                                      <p:cBhvr>
                                        <p:cTn id="78" dur="1" fill="hold">
                                          <p:stCondLst>
                                            <p:cond delay="1999"/>
                                          </p:stCondLst>
                                        </p:cTn>
                                        <p:tgtEl>
                                          <p:spTgt spid="1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9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860868" y="1867401"/>
            <a:ext cx="3449449" cy="3356657"/>
            <a:chOff x="860868" y="1867401"/>
            <a:chExt cx="3449449" cy="3356657"/>
          </a:xfrm>
        </p:grpSpPr>
        <p:sp>
          <p:nvSpPr>
            <p:cNvPr id="113" name="椭圆 112"/>
            <p:cNvSpPr/>
            <p:nvPr/>
          </p:nvSpPr>
          <p:spPr>
            <a:xfrm>
              <a:off x="1243026" y="1867401"/>
              <a:ext cx="3067291" cy="3067291"/>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4" name="椭圆 113"/>
            <p:cNvSpPr/>
            <p:nvPr/>
          </p:nvSpPr>
          <p:spPr>
            <a:xfrm>
              <a:off x="1150428" y="2156767"/>
              <a:ext cx="3067291" cy="306729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5" name="椭圆 114"/>
            <p:cNvSpPr/>
            <p:nvPr/>
          </p:nvSpPr>
          <p:spPr>
            <a:xfrm>
              <a:off x="860868" y="1890067"/>
              <a:ext cx="3067291" cy="306729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117" name="图片占位符 116"/>
          <p:cNvSpPr>
            <a:spLocks noGrp="1"/>
          </p:cNvSpPr>
          <p:nvPr>
            <p:ph type="pic" sz="quarter" idx="10"/>
          </p:nvPr>
        </p:nvSpPr>
        <p:spPr>
          <a:xfrm>
            <a:off x="1027988" y="2053946"/>
            <a:ext cx="3068100" cy="3068100"/>
          </a:xfrm>
          <a:custGeom>
            <a:avLst/>
            <a:gdLst>
              <a:gd name="connsiteX0" fmla="*/ 1534050 w 3068100"/>
              <a:gd name="connsiteY0" fmla="*/ 0 h 3068100"/>
              <a:gd name="connsiteX1" fmla="*/ 3068100 w 3068100"/>
              <a:gd name="connsiteY1" fmla="*/ 1534050 h 3068100"/>
              <a:gd name="connsiteX2" fmla="*/ 1534050 w 3068100"/>
              <a:gd name="connsiteY2" fmla="*/ 3068100 h 3068100"/>
              <a:gd name="connsiteX3" fmla="*/ 0 w 3068100"/>
              <a:gd name="connsiteY3" fmla="*/ 1534050 h 3068100"/>
              <a:gd name="connsiteX4" fmla="*/ 1534050 w 3068100"/>
              <a:gd name="connsiteY4" fmla="*/ 0 h 306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8100" h="3068100">
                <a:moveTo>
                  <a:pt x="1534050" y="0"/>
                </a:moveTo>
                <a:cubicBezTo>
                  <a:pt x="2381282" y="0"/>
                  <a:pt x="3068100" y="686818"/>
                  <a:pt x="3068100" y="1534050"/>
                </a:cubicBezTo>
                <a:cubicBezTo>
                  <a:pt x="3068100" y="2381282"/>
                  <a:pt x="2381282" y="3068100"/>
                  <a:pt x="1534050" y="3068100"/>
                </a:cubicBezTo>
                <a:cubicBezTo>
                  <a:pt x="686818" y="3068100"/>
                  <a:pt x="0" y="2381282"/>
                  <a:pt x="0" y="1534050"/>
                </a:cubicBezTo>
                <a:cubicBezTo>
                  <a:pt x="0" y="686818"/>
                  <a:pt x="686818" y="0"/>
                  <a:pt x="1534050" y="0"/>
                </a:cubicBezTo>
                <a:close/>
              </a:path>
            </a:pathLst>
          </a:custGeom>
          <a:solidFill>
            <a:schemeClr val="accent1">
              <a:lumMod val="20000"/>
              <a:lumOff val="80000"/>
            </a:schemeClr>
          </a:solidFill>
          <a:ln w="38100">
            <a:solidFill>
              <a:schemeClr val="bg1"/>
            </a:solidFill>
          </a:ln>
        </p:spPr>
        <p:txBody>
          <a:bodyPr wrap="square">
            <a:noAutofit/>
          </a:bodyPr>
          <a:lstStyle/>
          <a:p>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空白页">
    <p:spTree>
      <p:nvGrpSpPr>
        <p:cNvPr id="1" name=""/>
        <p:cNvGrpSpPr/>
        <p:nvPr/>
      </p:nvGrpSpPr>
      <p:grpSpPr>
        <a:xfrm>
          <a:off x="0" y="0"/>
          <a:ext cx="0" cy="0"/>
          <a:chOff x="0" y="0"/>
          <a:chExt cx="0" cy="0"/>
        </a:xfrm>
      </p:grpSpPr>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ea typeface="微软雅黑" panose="020B0503020204020204" charset="-122"/>
              <a:cs typeface="+mn-cs"/>
            </a:endParaRPr>
          </a:p>
        </p:txBody>
      </p:sp>
      <p:sp>
        <p:nvSpPr>
          <p:cNvPr id="4" name="灯片编号占位符 3"/>
          <p:cNvSpPr>
            <a:spLocks noGrp="1"/>
          </p:cNvSpPr>
          <p:nvPr>
            <p:ph type="sldNum" sz="quarter" idx="11"/>
          </p:nvPr>
        </p:nvSpPr>
        <p:spPr/>
        <p:txBody>
          <a:body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sp>
        <p:nvSpPr>
          <p:cNvPr id="5" name="页脚占位符 4"/>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ea typeface="微软雅黑" panose="020B0503020204020204" charset="-122"/>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封面2-3">
    <p:spTree>
      <p:nvGrpSpPr>
        <p:cNvPr id="1" name=""/>
        <p:cNvGrpSpPr/>
        <p:nvPr/>
      </p:nvGrpSpPr>
      <p:grpSpPr>
        <a:xfrm>
          <a:off x="0" y="0"/>
          <a:ext cx="0" cy="0"/>
          <a:chOff x="0" y="0"/>
          <a:chExt cx="0" cy="0"/>
        </a:xfrm>
      </p:grpSpPr>
      <p:pic>
        <p:nvPicPr>
          <p:cNvPr id="112" name="图片 11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4700"/>
                    </a14:imgEffect>
                  </a14:imgLayer>
                </a14:imgProps>
              </a:ext>
            </a:extLst>
          </a:blip>
          <a:srcRect/>
          <a:stretch>
            <a:fillRect/>
          </a:stretch>
        </p:blipFill>
        <p:spPr>
          <a:xfrm>
            <a:off x="0" y="-1"/>
            <a:ext cx="12186564" cy="4107180"/>
          </a:xfrm>
          <a:custGeom>
            <a:avLst/>
            <a:gdLst>
              <a:gd name="connsiteX0" fmla="*/ 0 w 12192000"/>
              <a:gd name="connsiteY0" fmla="*/ 0 h 4109012"/>
              <a:gd name="connsiteX1" fmla="*/ 12192000 w 12192000"/>
              <a:gd name="connsiteY1" fmla="*/ 0 h 4109012"/>
              <a:gd name="connsiteX2" fmla="*/ 12192000 w 12192000"/>
              <a:gd name="connsiteY2" fmla="*/ 4109012 h 4109012"/>
              <a:gd name="connsiteX3" fmla="*/ 0 w 12192000"/>
              <a:gd name="connsiteY3" fmla="*/ 4109012 h 4109012"/>
            </a:gdLst>
            <a:ahLst/>
            <a:cxnLst>
              <a:cxn ang="0">
                <a:pos x="connsiteX0" y="connsiteY0"/>
              </a:cxn>
              <a:cxn ang="0">
                <a:pos x="connsiteX1" y="connsiteY1"/>
              </a:cxn>
              <a:cxn ang="0">
                <a:pos x="connsiteX2" y="connsiteY2"/>
              </a:cxn>
              <a:cxn ang="0">
                <a:pos x="connsiteX3" y="connsiteY3"/>
              </a:cxn>
            </a:cxnLst>
            <a:rect l="l" t="t" r="r" b="b"/>
            <a:pathLst>
              <a:path w="12192000" h="4109012">
                <a:moveTo>
                  <a:pt x="0" y="0"/>
                </a:moveTo>
                <a:lnTo>
                  <a:pt x="12192000" y="0"/>
                </a:lnTo>
                <a:lnTo>
                  <a:pt x="12192000" y="4109012"/>
                </a:lnTo>
                <a:lnTo>
                  <a:pt x="0" y="4109012"/>
                </a:lnTo>
                <a:close/>
              </a:path>
            </a:pathLst>
          </a:custGeom>
        </p:spPr>
      </p:pic>
      <p:sp>
        <p:nvSpPr>
          <p:cNvPr id="111" name="矩形: 单圆角 110"/>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内容占位符 123"/>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9" name="内容占位符 4"/>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grpSp>
        <p:nvGrpSpPr>
          <p:cNvPr id="60" name="组合 59"/>
          <p:cNvGrpSpPr/>
          <p:nvPr userDrawn="1"/>
        </p:nvGrpSpPr>
        <p:grpSpPr>
          <a:xfrm>
            <a:off x="10477913" y="446123"/>
            <a:ext cx="1234662" cy="419641"/>
            <a:chOff x="1398368" y="5051425"/>
            <a:chExt cx="3242941" cy="1102222"/>
          </a:xfrm>
        </p:grpSpPr>
        <p:sp>
          <p:nvSpPr>
            <p:cNvPr id="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7" name="组合 116"/>
            <p:cNvGrpSpPr/>
            <p:nvPr/>
          </p:nvGrpSpPr>
          <p:grpSpPr>
            <a:xfrm>
              <a:off x="2921957" y="5168150"/>
              <a:ext cx="542765" cy="642593"/>
              <a:chOff x="3102298" y="5183391"/>
              <a:chExt cx="501880" cy="594188"/>
            </a:xfrm>
          </p:grpSpPr>
          <p:sp>
            <p:nvSpPr>
              <p:cNvPr id="161"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1" name="组合 120"/>
            <p:cNvGrpSpPr/>
            <p:nvPr/>
          </p:nvGrpSpPr>
          <p:grpSpPr>
            <a:xfrm>
              <a:off x="4196892" y="5154476"/>
              <a:ext cx="444417" cy="649987"/>
              <a:chOff x="4257853" y="5169716"/>
              <a:chExt cx="410940" cy="601025"/>
            </a:xfrm>
          </p:grpSpPr>
          <p:sp>
            <p:nvSpPr>
              <p:cNvPr id="156"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2"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63" name="直接连接符 62"/>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封面3-1">
    <p:spTree>
      <p:nvGrpSpPr>
        <p:cNvPr id="1" name=""/>
        <p:cNvGrpSpPr/>
        <p:nvPr/>
      </p:nvGrpSpPr>
      <p:grpSpPr>
        <a:xfrm>
          <a:off x="0" y="0"/>
          <a:ext cx="0" cy="0"/>
          <a:chOff x="0" y="0"/>
          <a:chExt cx="0" cy="0"/>
        </a:xfrm>
      </p:grpSpPr>
      <p:pic>
        <p:nvPicPr>
          <p:cNvPr id="112" name="图片 111"/>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5000"/>
                    </a14:imgEffect>
                    <a14:imgEffect>
                      <a14:colorTemperature colorTemp="5900"/>
                    </a14:imgEffect>
                  </a14:imgLayer>
                </a14:imgProps>
              </a:ext>
            </a:extLst>
          </a:blip>
          <a:srcRect/>
          <a:stretch>
            <a:fillRect/>
          </a:stretch>
        </p:blipFill>
        <p:spPr>
          <a:xfrm>
            <a:off x="0" y="-2"/>
            <a:ext cx="12192000" cy="6858001"/>
          </a:xfrm>
          <a:prstGeom prst="rect">
            <a:avLst/>
          </a:prstGeom>
          <a:effectLst/>
        </p:spPr>
      </p:pic>
      <p:sp>
        <p:nvSpPr>
          <p:cNvPr id="113" name="矩形 112"/>
          <p:cNvSpPr/>
          <p:nvPr userDrawn="1"/>
        </p:nvSpPr>
        <p:spPr>
          <a:xfrm>
            <a:off x="1969477" y="0"/>
            <a:ext cx="10222524" cy="6858000"/>
          </a:xfrm>
          <a:prstGeom prst="rect">
            <a:avLst/>
          </a:prstGeom>
          <a:gradFill flip="none" rotWithShape="1">
            <a:gsLst>
              <a:gs pos="0">
                <a:schemeClr val="bg1">
                  <a:alpha val="0"/>
                </a:schemeClr>
              </a:gs>
              <a:gs pos="16000">
                <a:schemeClr val="bg1"/>
              </a:gs>
              <a:gs pos="100000">
                <a:schemeClr val="bg1"/>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图片 3"/>
          <p:cNvPicPr>
            <a:picLocks noChangeAspect="1"/>
          </p:cNvPicPr>
          <p:nvPr userDrawn="1"/>
        </p:nvPicPr>
        <p:blipFill>
          <a:blip r:embed="rId4" cstate="email"/>
          <a:stretch>
            <a:fillRect/>
          </a:stretch>
        </p:blipFill>
        <p:spPr>
          <a:xfrm>
            <a:off x="-1" y="-2"/>
            <a:ext cx="12192002" cy="6858000"/>
          </a:xfrm>
          <a:prstGeom prst="rect">
            <a:avLst/>
          </a:prstGeom>
        </p:spPr>
      </p:pic>
      <p:sp>
        <p:nvSpPr>
          <p:cNvPr id="2" name="标题 1"/>
          <p:cNvSpPr>
            <a:spLocks noGrp="1"/>
          </p:cNvSpPr>
          <p:nvPr>
            <p:ph type="ctrTitle"/>
          </p:nvPr>
        </p:nvSpPr>
        <p:spPr>
          <a:xfrm>
            <a:off x="3560323" y="2268637"/>
            <a:ext cx="8152252" cy="687095"/>
          </a:xfrm>
        </p:spPr>
        <p:txBody>
          <a:bodyPr lIns="0" tIns="0" rIns="0" bIns="0" anchor="ctr">
            <a:noAutofit/>
          </a:bodyPr>
          <a:lstStyle>
            <a:lvl1pPr marL="0" algn="l" defTabSz="457200" rtl="0" eaLnBrk="1" latinLnBrk="0" hangingPunct="1">
              <a:lnSpc>
                <a:spcPct val="100000"/>
              </a:lnSpc>
              <a:spcBef>
                <a:spcPts val="0"/>
              </a:spcBef>
              <a:defRPr lang="en-US" sz="4800" b="1" kern="1200" spc="0" dirty="0">
                <a:solidFill>
                  <a:schemeClr val="accent1"/>
                </a:solidFill>
                <a:latin typeface="+mn-lt"/>
                <a:ea typeface="+mn-ea"/>
                <a:cs typeface="+mn-cs"/>
              </a:defRPr>
            </a:lvl1pPr>
          </a:lstStyle>
          <a:p>
            <a:endParaRPr lang="en-US" dirty="0"/>
          </a:p>
        </p:txBody>
      </p:sp>
      <p:sp>
        <p:nvSpPr>
          <p:cNvPr id="3" name="副标题 2"/>
          <p:cNvSpPr>
            <a:spLocks noGrp="1"/>
          </p:cNvSpPr>
          <p:nvPr>
            <p:ph type="subTitle" idx="1"/>
          </p:nvPr>
        </p:nvSpPr>
        <p:spPr>
          <a:xfrm>
            <a:off x="3560323" y="2982132"/>
            <a:ext cx="8152252" cy="400110"/>
          </a:xfrm>
        </p:spPr>
        <p:txBody>
          <a:bodyPr lIns="0" tIns="0" rIns="0" bIns="0" anchor="ctr">
            <a:noAutofit/>
          </a:bodyPr>
          <a:lstStyle>
            <a:lvl1pPr marL="0" indent="0" algn="l" defTabSz="457200" rtl="0" eaLnBrk="1" latinLnBrk="0" hangingPunct="1">
              <a:lnSpc>
                <a:spcPct val="100000"/>
              </a:lnSpc>
              <a:spcBef>
                <a:spcPts val="0"/>
              </a:spcBef>
              <a:buNone/>
              <a:defRPr lang="en-US" sz="1600" kern="1200" spc="3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24" name="内容占位符 123"/>
          <p:cNvSpPr>
            <a:spLocks noGrp="1"/>
          </p:cNvSpPr>
          <p:nvPr>
            <p:ph sz="quarter" idx="12" hasCustomPrompt="1"/>
          </p:nvPr>
        </p:nvSpPr>
        <p:spPr>
          <a:xfrm>
            <a:off x="3578451" y="4244455"/>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5" name="内容占位符 4"/>
          <p:cNvSpPr>
            <a:spLocks noGrp="1"/>
          </p:cNvSpPr>
          <p:nvPr>
            <p:ph sz="quarter" idx="11" hasCustomPrompt="1"/>
          </p:nvPr>
        </p:nvSpPr>
        <p:spPr>
          <a:xfrm>
            <a:off x="6371527" y="4244455"/>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78" name="直接连接符 177"/>
          <p:cNvCxnSpPr/>
          <p:nvPr/>
        </p:nvCxnSpPr>
        <p:spPr>
          <a:xfrm>
            <a:off x="5971709" y="4305531"/>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9" name="矩形 178"/>
          <p:cNvSpPr/>
          <p:nvPr userDrawn="1"/>
        </p:nvSpPr>
        <p:spPr>
          <a:xfrm>
            <a:off x="3560322" y="3570676"/>
            <a:ext cx="8631677" cy="45719"/>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grpSp>
        <p:nvGrpSpPr>
          <p:cNvPr id="63" name="组合 62"/>
          <p:cNvGrpSpPr/>
          <p:nvPr userDrawn="1"/>
        </p:nvGrpSpPr>
        <p:grpSpPr>
          <a:xfrm>
            <a:off x="10477913" y="446123"/>
            <a:ext cx="1234662" cy="419641"/>
            <a:chOff x="1398368" y="5051425"/>
            <a:chExt cx="3242941" cy="1102222"/>
          </a:xfrm>
        </p:grpSpPr>
        <p:sp>
          <p:nvSpPr>
            <p:cNvPr id="64"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7" name="组合 66"/>
            <p:cNvGrpSpPr/>
            <p:nvPr/>
          </p:nvGrpSpPr>
          <p:grpSpPr>
            <a:xfrm>
              <a:off x="2921957" y="5168150"/>
              <a:ext cx="542765" cy="642593"/>
              <a:chOff x="3102298" y="5183391"/>
              <a:chExt cx="501880" cy="594188"/>
            </a:xfrm>
          </p:grpSpPr>
          <p:sp>
            <p:nvSpPr>
              <p:cNvPr id="108"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8" name="组合 67"/>
            <p:cNvGrpSpPr/>
            <p:nvPr/>
          </p:nvGrpSpPr>
          <p:grpSpPr>
            <a:xfrm>
              <a:off x="4196892" y="5154476"/>
              <a:ext cx="444417" cy="649987"/>
              <a:chOff x="4257853" y="5169716"/>
              <a:chExt cx="410940" cy="601025"/>
            </a:xfrm>
          </p:grpSpPr>
          <p:sp>
            <p:nvSpPr>
              <p:cNvPr id="103"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9"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1" name="组合 110"/>
          <p:cNvGrpSpPr/>
          <p:nvPr userDrawn="1"/>
        </p:nvGrpSpPr>
        <p:grpSpPr>
          <a:xfrm>
            <a:off x="6733042" y="0"/>
            <a:ext cx="5458958" cy="6574420"/>
            <a:chOff x="8431598" y="0"/>
            <a:chExt cx="3760402" cy="4528788"/>
          </a:xfrm>
        </p:grpSpPr>
        <p:sp>
          <p:nvSpPr>
            <p:cNvPr id="114" name="任意多边形: 形状 113"/>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15" name="任意多边形: 形状 114"/>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6" name="任意多边形: 形状 115"/>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封面4-1">
    <p:spTree>
      <p:nvGrpSpPr>
        <p:cNvPr id="1" name=""/>
        <p:cNvGrpSpPr/>
        <p:nvPr/>
      </p:nvGrpSpPr>
      <p:grpSpPr>
        <a:xfrm>
          <a:off x="0" y="0"/>
          <a:ext cx="0" cy="0"/>
          <a:chOff x="0" y="0"/>
          <a:chExt cx="0" cy="0"/>
        </a:xfrm>
      </p:grpSpPr>
      <p:sp>
        <p:nvSpPr>
          <p:cNvPr id="112" name="矩形: 单圆角 111"/>
          <p:cNvSpPr/>
          <p:nvPr userDrawn="1"/>
        </p:nvSpPr>
        <p:spPr>
          <a:xfrm flipH="1">
            <a:off x="515937" y="1041723"/>
            <a:ext cx="11676059" cy="2932262"/>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标题 1"/>
          <p:cNvSpPr>
            <a:spLocks noGrp="1"/>
          </p:cNvSpPr>
          <p:nvPr>
            <p:ph type="ctrTitle"/>
          </p:nvPr>
        </p:nvSpPr>
        <p:spPr>
          <a:xfrm>
            <a:off x="1001856" y="1247447"/>
            <a:ext cx="9383888" cy="923330"/>
          </a:xfrm>
        </p:spPr>
        <p:txBody>
          <a:bodyPr lIns="0" tIns="0" rIns="0" bIns="0" anchor="ctr">
            <a:noAutofit/>
          </a:bodyPr>
          <a:lstStyle>
            <a:lvl1pPr marL="0" algn="l" defTabSz="457200" rtl="0" eaLnBrk="1" latinLnBrk="0" hangingPunct="1">
              <a:lnSpc>
                <a:spcPct val="100000"/>
              </a:lnSpc>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177" name="副标题 2"/>
          <p:cNvSpPr>
            <a:spLocks noGrp="1"/>
          </p:cNvSpPr>
          <p:nvPr>
            <p:ph type="subTitle" idx="1"/>
          </p:nvPr>
        </p:nvSpPr>
        <p:spPr>
          <a:xfrm>
            <a:off x="1001856" y="2174027"/>
            <a:ext cx="9383888"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8" name="矩形 117"/>
          <p:cNvSpPr/>
          <p:nvPr userDrawn="1"/>
        </p:nvSpPr>
        <p:spPr>
          <a:xfrm>
            <a:off x="515937" y="3823513"/>
            <a:ext cx="11676063"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69" name="图片 168"/>
          <p:cNvPicPr>
            <a:picLocks noChangeAspect="1"/>
          </p:cNvPicPr>
          <p:nvPr userDrawn="1"/>
        </p:nvPicPr>
        <p:blipFill rotWithShape="1">
          <a:blip r:embed="rId2" cstate="email">
            <a:duotone>
              <a:schemeClr val="accent1">
                <a:shade val="45000"/>
                <a:satMod val="135000"/>
              </a:schemeClr>
              <a:prstClr val="white"/>
            </a:duotone>
          </a:blip>
          <a:srcRect/>
          <a:stretch>
            <a:fillRect/>
          </a:stretch>
        </p:blipFill>
        <p:spPr>
          <a:xfrm>
            <a:off x="0" y="1527858"/>
            <a:ext cx="740780" cy="5330141"/>
          </a:xfrm>
          <a:prstGeom prst="rect">
            <a:avLst/>
          </a:prstGeom>
        </p:spPr>
      </p:pic>
      <p:pic>
        <p:nvPicPr>
          <p:cNvPr id="170" name="图片 169"/>
          <p:cNvPicPr>
            <a:picLocks noChangeAspect="1"/>
          </p:cNvPicPr>
          <p:nvPr userDrawn="1"/>
        </p:nvPicPr>
        <p:blipFill rotWithShape="1">
          <a:blip r:embed="rId3" cstate="email">
            <a:duotone>
              <a:schemeClr val="accent1">
                <a:shade val="45000"/>
                <a:satMod val="135000"/>
              </a:schemeClr>
              <a:prstClr val="white"/>
            </a:duotone>
          </a:blip>
          <a:srcRect/>
          <a:stretch>
            <a:fillRect/>
          </a:stretch>
        </p:blipFill>
        <p:spPr>
          <a:xfrm>
            <a:off x="717630" y="3796496"/>
            <a:ext cx="3460830" cy="3061503"/>
          </a:xfrm>
          <a:prstGeom prst="rect">
            <a:avLst/>
          </a:prstGeom>
        </p:spPr>
      </p:pic>
      <p:pic>
        <p:nvPicPr>
          <p:cNvPr id="171" name="图片 170"/>
          <p:cNvPicPr>
            <a:picLocks noChangeAspect="1"/>
          </p:cNvPicPr>
          <p:nvPr userDrawn="1"/>
        </p:nvPicPr>
        <p:blipFill rotWithShape="1">
          <a:blip r:embed="rId4" cstate="email">
            <a:duotone>
              <a:schemeClr val="accent1">
                <a:shade val="45000"/>
                <a:satMod val="135000"/>
              </a:schemeClr>
              <a:prstClr val="white"/>
            </a:duotone>
          </a:blip>
          <a:srcRect r="-4" b="-2"/>
          <a:stretch>
            <a:fillRect/>
          </a:stretch>
        </p:blipFill>
        <p:spPr>
          <a:xfrm>
            <a:off x="9317620" y="3333510"/>
            <a:ext cx="2874380" cy="3524490"/>
          </a:xfrm>
          <a:prstGeom prst="rect">
            <a:avLst/>
          </a:prstGeom>
        </p:spPr>
      </p:pic>
      <p:pic>
        <p:nvPicPr>
          <p:cNvPr id="174" name="图片 173"/>
          <p:cNvPicPr>
            <a:picLocks noChangeAspect="1"/>
          </p:cNvPicPr>
          <p:nvPr userDrawn="1"/>
        </p:nvPicPr>
        <p:blipFill rotWithShape="1">
          <a:blip r:embed="rId5" cstate="email">
            <a:duotone>
              <a:schemeClr val="accent1">
                <a:shade val="45000"/>
                <a:satMod val="135000"/>
              </a:schemeClr>
              <a:prstClr val="white"/>
            </a:duotone>
          </a:blip>
          <a:srcRect b="-2"/>
          <a:stretch>
            <a:fillRect/>
          </a:stretch>
        </p:blipFill>
        <p:spPr>
          <a:xfrm>
            <a:off x="4178462" y="2835797"/>
            <a:ext cx="1898248" cy="4022202"/>
          </a:xfrm>
          <a:prstGeom prst="rect">
            <a:avLst/>
          </a:prstGeom>
        </p:spPr>
      </p:pic>
      <p:cxnSp>
        <p:nvCxnSpPr>
          <p:cNvPr id="175" name="直接连接符 174"/>
          <p:cNvCxnSpPr/>
          <p:nvPr userDrawn="1"/>
        </p:nvCxnSpPr>
        <p:spPr>
          <a:xfrm>
            <a:off x="1001856" y="2696901"/>
            <a:ext cx="63017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80" name="内容占位符 123"/>
          <p:cNvSpPr>
            <a:spLocks noGrp="1"/>
          </p:cNvSpPr>
          <p:nvPr>
            <p:ph sz="quarter" idx="12" hasCustomPrompt="1"/>
          </p:nvPr>
        </p:nvSpPr>
        <p:spPr>
          <a:xfrm>
            <a:off x="1035562" y="3159374"/>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bg1"/>
                </a:solidFill>
                <a:latin typeface="+mn-lt"/>
                <a:ea typeface="+mn-ea"/>
                <a:cs typeface="+mn-cs"/>
              </a:defRPr>
            </a:lvl1pPr>
          </a:lstStyle>
          <a:p>
            <a:pPr>
              <a:defRPr/>
            </a:pPr>
            <a:r>
              <a:rPr lang="zh-CN" altLang="en-US" dirty="0"/>
              <a:t>请输入内容</a:t>
            </a:r>
          </a:p>
        </p:txBody>
      </p:sp>
      <p:sp>
        <p:nvSpPr>
          <p:cNvPr id="181" name="内容占位符 4"/>
          <p:cNvSpPr>
            <a:spLocks noGrp="1"/>
          </p:cNvSpPr>
          <p:nvPr>
            <p:ph sz="quarter" idx="11" hasCustomPrompt="1"/>
          </p:nvPr>
        </p:nvSpPr>
        <p:spPr>
          <a:xfrm>
            <a:off x="3828638" y="3159374"/>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bg1"/>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85" name="直接连接符 184"/>
          <p:cNvCxnSpPr/>
          <p:nvPr/>
        </p:nvCxnSpPr>
        <p:spPr>
          <a:xfrm>
            <a:off x="3428820" y="3220450"/>
            <a:ext cx="0" cy="26785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72" name="图片 171"/>
          <p:cNvPicPr>
            <a:picLocks noChangeAspect="1"/>
          </p:cNvPicPr>
          <p:nvPr userDrawn="1"/>
        </p:nvPicPr>
        <p:blipFill rotWithShape="1">
          <a:blip r:embed="rId6" cstate="email">
            <a:duotone>
              <a:schemeClr val="accent1">
                <a:shade val="45000"/>
                <a:satMod val="135000"/>
              </a:schemeClr>
              <a:prstClr val="white"/>
            </a:duotone>
          </a:blip>
          <a:srcRect b="-1"/>
          <a:stretch>
            <a:fillRect/>
          </a:stretch>
        </p:blipFill>
        <p:spPr>
          <a:xfrm>
            <a:off x="6007261" y="1620456"/>
            <a:ext cx="3368233" cy="5237543"/>
          </a:xfrm>
          <a:prstGeom prst="rect">
            <a:avLst/>
          </a:prstGeom>
        </p:spPr>
      </p:pic>
      <p:grpSp>
        <p:nvGrpSpPr>
          <p:cNvPr id="63" name="组合 62"/>
          <p:cNvGrpSpPr/>
          <p:nvPr userDrawn="1"/>
        </p:nvGrpSpPr>
        <p:grpSpPr>
          <a:xfrm>
            <a:off x="10477913" y="446123"/>
            <a:ext cx="1234662" cy="419641"/>
            <a:chOff x="1398368" y="5051425"/>
            <a:chExt cx="3242941" cy="1102222"/>
          </a:xfrm>
        </p:grpSpPr>
        <p:sp>
          <p:nvSpPr>
            <p:cNvPr id="64"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7" name="组合 66"/>
            <p:cNvGrpSpPr/>
            <p:nvPr/>
          </p:nvGrpSpPr>
          <p:grpSpPr>
            <a:xfrm>
              <a:off x="2921957" y="5168150"/>
              <a:ext cx="542765" cy="642593"/>
              <a:chOff x="3102298" y="5183391"/>
              <a:chExt cx="501880" cy="594188"/>
            </a:xfrm>
          </p:grpSpPr>
          <p:sp>
            <p:nvSpPr>
              <p:cNvPr id="108"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8" name="组合 67"/>
            <p:cNvGrpSpPr/>
            <p:nvPr/>
          </p:nvGrpSpPr>
          <p:grpSpPr>
            <a:xfrm>
              <a:off x="4196892" y="5154476"/>
              <a:ext cx="444417" cy="649987"/>
              <a:chOff x="4257853" y="5169716"/>
              <a:chExt cx="410940" cy="601025"/>
            </a:xfrm>
          </p:grpSpPr>
          <p:sp>
            <p:nvSpPr>
              <p:cNvPr id="103"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9"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目录1-1">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4" name="矩形 3"/>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05" name="图片 104"/>
          <p:cNvPicPr>
            <a:picLocks noChangeAspect="1"/>
          </p:cNvPicPr>
          <p:nvPr userDrawn="1"/>
        </p:nvPicPr>
        <p:blipFill rotWithShape="1">
          <a:blip r:embed="rId3" cstate="email">
            <a:extLst>
              <a:ext uri="{BEBA8EAE-BF5A-486C-A8C5-ECC9F3942E4B}">
                <a14:imgProps xmlns:a14="http://schemas.microsoft.com/office/drawing/2010/main">
                  <a14:imgLayer r:embed="rId4">
                    <a14:imgEffect>
                      <a14:colorTemperature colorTemp="4700"/>
                    </a14:imgEffect>
                  </a14:imgLayer>
                </a14:imgProps>
              </a:ext>
            </a:extLst>
          </a:blip>
          <a:srcRect l="1363" r="1363"/>
          <a:stretch>
            <a:fillRect/>
          </a:stretch>
        </p:blipFill>
        <p:spPr>
          <a:xfrm>
            <a:off x="515938" y="-1"/>
            <a:ext cx="3060294" cy="6125618"/>
          </a:xfrm>
          <a:custGeom>
            <a:avLst/>
            <a:gdLst>
              <a:gd name="connsiteX0" fmla="*/ 0 w 3230880"/>
              <a:gd name="connsiteY0" fmla="*/ 0 h 6319777"/>
              <a:gd name="connsiteX1" fmla="*/ 3230880 w 3230880"/>
              <a:gd name="connsiteY1" fmla="*/ 0 h 6319777"/>
              <a:gd name="connsiteX2" fmla="*/ 3230880 w 3230880"/>
              <a:gd name="connsiteY2" fmla="*/ 6319777 h 6319777"/>
              <a:gd name="connsiteX3" fmla="*/ 0 w 3230880"/>
              <a:gd name="connsiteY3" fmla="*/ 6319777 h 6319777"/>
            </a:gdLst>
            <a:ahLst/>
            <a:cxnLst>
              <a:cxn ang="0">
                <a:pos x="connsiteX0" y="connsiteY0"/>
              </a:cxn>
              <a:cxn ang="0">
                <a:pos x="connsiteX1" y="connsiteY1"/>
              </a:cxn>
              <a:cxn ang="0">
                <a:pos x="connsiteX2" y="connsiteY2"/>
              </a:cxn>
              <a:cxn ang="0">
                <a:pos x="connsiteX3" y="connsiteY3"/>
              </a:cxn>
            </a:cxnLst>
            <a:rect l="l" t="t" r="r" b="b"/>
            <a:pathLst>
              <a:path w="3230880" h="6319777">
                <a:moveTo>
                  <a:pt x="0" y="0"/>
                </a:moveTo>
                <a:lnTo>
                  <a:pt x="3230880" y="0"/>
                </a:lnTo>
                <a:lnTo>
                  <a:pt x="3230880" y="6319777"/>
                </a:lnTo>
                <a:lnTo>
                  <a:pt x="0" y="6319777"/>
                </a:lnTo>
                <a:close/>
              </a:path>
            </a:pathLst>
          </a:custGeom>
        </p:spPr>
      </p:pic>
      <p:sp>
        <p:nvSpPr>
          <p:cNvPr id="6" name="矩形: 对角圆角 5"/>
          <p:cNvSpPr/>
          <p:nvPr userDrawn="1"/>
        </p:nvSpPr>
        <p:spPr>
          <a:xfrm>
            <a:off x="679680" y="-1"/>
            <a:ext cx="2732809" cy="6350001"/>
          </a:xfrm>
          <a:prstGeom prst="round2Diag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矩形 7"/>
          <p:cNvSpPr/>
          <p:nvPr userDrawn="1"/>
        </p:nvSpPr>
        <p:spPr>
          <a:xfrm>
            <a:off x="1365365" y="5860471"/>
            <a:ext cx="10826634" cy="8151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userDrawn="1">
            <p:ph type="ctrTitle" hasCustomPrompt="1"/>
          </p:nvPr>
        </p:nvSpPr>
        <p:spPr>
          <a:xfrm>
            <a:off x="1177404" y="2614340"/>
            <a:ext cx="1737360" cy="923330"/>
          </a:xfrm>
        </p:spPr>
        <p:txBody>
          <a:bodyPr lIns="0" tIns="0" rIns="0" bIns="0" anchor="ctr">
            <a:noAutofit/>
          </a:bodyPr>
          <a:lstStyle>
            <a:lvl1pPr marL="0" algn="dist" defTabSz="457200" rtl="0" eaLnBrk="1" latinLnBrk="0" hangingPunct="1">
              <a:lnSpc>
                <a:spcPct val="100000"/>
              </a:lnSpc>
              <a:defRPr lang="en-US" sz="60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r>
              <a:rPr lang="zh-CN" altLang="en-US" dirty="0"/>
              <a:t>目录</a:t>
            </a:r>
            <a:endParaRPr lang="en-US" dirty="0"/>
          </a:p>
        </p:txBody>
      </p:sp>
      <p:cxnSp>
        <p:nvCxnSpPr>
          <p:cNvPr id="10" name="直接连接符 9"/>
          <p:cNvCxnSpPr/>
          <p:nvPr userDrawn="1"/>
        </p:nvCxnSpPr>
        <p:spPr>
          <a:xfrm>
            <a:off x="1223125" y="3738491"/>
            <a:ext cx="1668778" cy="0"/>
          </a:xfrm>
          <a:prstGeom prst="line">
            <a:avLst/>
          </a:prstGeom>
          <a:ln w="28575">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矩形 10"/>
          <p:cNvSpPr/>
          <p:nvPr userDrawn="1"/>
        </p:nvSpPr>
        <p:spPr>
          <a:xfrm>
            <a:off x="1223126" y="5860471"/>
            <a:ext cx="2438399" cy="81511"/>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文本框 11"/>
          <p:cNvSpPr txBox="1"/>
          <p:nvPr userDrawn="1"/>
        </p:nvSpPr>
        <p:spPr>
          <a:xfrm>
            <a:off x="1223126" y="5532291"/>
            <a:ext cx="6629399" cy="283292"/>
          </a:xfrm>
          <a:prstGeom prst="rect">
            <a:avLst/>
          </a:prstGeom>
          <a:noFill/>
        </p:spPr>
        <p:txBody>
          <a:bodyPr wrap="square" lIns="0" rIns="0" rtlCol="0" anchor="ctr">
            <a:noAutofit/>
          </a:bodyPr>
          <a:lstStyle/>
          <a:p>
            <a:pPr algn="dist"/>
            <a:r>
              <a:rPr lang="en-US" altLang="zh-CN" sz="2000" dirty="0">
                <a:solidFill>
                  <a:schemeClr val="bg1"/>
                </a:solidFill>
                <a:effectLst>
                  <a:outerShdw blurRad="38100" dist="38100" dir="2700000" algn="tl">
                    <a:srgbClr val="000000">
                      <a:alpha val="43137"/>
                    </a:srgbClr>
                  </a:outerShdw>
                </a:effectLst>
                <a:latin typeface="Impact" panose="020B0806030902050204" pitchFamily="34" charset="0"/>
              </a:rPr>
              <a:t>CON</a:t>
            </a:r>
            <a:r>
              <a:rPr lang="en-US" altLang="zh-CN" sz="2000" dirty="0">
                <a:solidFill>
                  <a:schemeClr val="accent2"/>
                </a:solidFill>
                <a:latin typeface="Impact" panose="020B0806030902050204" pitchFamily="34" charset="0"/>
              </a:rPr>
              <a:t>TENTS</a:t>
            </a:r>
          </a:p>
        </p:txBody>
      </p:sp>
      <p:sp>
        <p:nvSpPr>
          <p:cNvPr id="61" name="文本框 60"/>
          <p:cNvSpPr txBox="1"/>
          <p:nvPr userDrawn="1"/>
        </p:nvSpPr>
        <p:spPr>
          <a:xfrm>
            <a:off x="1063103" y="2412479"/>
            <a:ext cx="1965962" cy="923330"/>
          </a:xfrm>
          <a:prstGeom prst="rect">
            <a:avLst/>
          </a:prstGeom>
          <a:noFill/>
        </p:spPr>
        <p:txBody>
          <a:bodyPr wrap="square" lIns="0" rIns="0" rtlCol="0" anchor="ctr">
            <a:noAutofit/>
          </a:bodyPr>
          <a:lstStyle/>
          <a:p>
            <a:pPr algn="dist"/>
            <a:r>
              <a:rPr lang="zh-CN" altLang="en-US" sz="6000" b="1" spc="600" dirty="0">
                <a:ln>
                  <a:gradFill>
                    <a:gsLst>
                      <a:gs pos="12000">
                        <a:schemeClr val="bg1"/>
                      </a:gs>
                      <a:gs pos="18000">
                        <a:schemeClr val="bg1">
                          <a:alpha val="52000"/>
                        </a:schemeClr>
                      </a:gs>
                      <a:gs pos="100000">
                        <a:schemeClr val="bg1">
                          <a:alpha val="0"/>
                        </a:schemeClr>
                      </a:gs>
                    </a:gsLst>
                    <a:lin ang="5400000" scaled="1"/>
                  </a:gradFill>
                </a:ln>
                <a:noFill/>
              </a:rPr>
              <a:t>目录</a:t>
            </a:r>
            <a:endParaRPr lang="en-US" sz="6000" b="1" spc="600" dirty="0">
              <a:ln>
                <a:gradFill>
                  <a:gsLst>
                    <a:gs pos="12000">
                      <a:schemeClr val="bg1"/>
                    </a:gs>
                    <a:gs pos="18000">
                      <a:schemeClr val="bg1">
                        <a:alpha val="52000"/>
                      </a:schemeClr>
                    </a:gs>
                    <a:gs pos="100000">
                      <a:schemeClr val="bg1">
                        <a:alpha val="0"/>
                      </a:schemeClr>
                    </a:gs>
                  </a:gsLst>
                  <a:lin ang="5400000" scaled="1"/>
                </a:gradFill>
              </a:ln>
              <a:noFill/>
            </a:endParaRPr>
          </a:p>
        </p:txBody>
      </p:sp>
      <p:cxnSp>
        <p:nvCxnSpPr>
          <p:cNvPr id="62" name="直接连接符 61"/>
          <p:cNvCxnSpPr/>
          <p:nvPr userDrawn="1"/>
        </p:nvCxnSpPr>
        <p:spPr>
          <a:xfrm>
            <a:off x="1223125" y="3814691"/>
            <a:ext cx="1668778" cy="0"/>
          </a:xfrm>
          <a:prstGeom prst="line">
            <a:avLst/>
          </a:prstGeom>
          <a:ln w="63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60" name="组合 159"/>
          <p:cNvGrpSpPr/>
          <p:nvPr userDrawn="1"/>
        </p:nvGrpSpPr>
        <p:grpSpPr>
          <a:xfrm>
            <a:off x="10477913" y="446123"/>
            <a:ext cx="1234662" cy="419641"/>
            <a:chOff x="1398368" y="5051425"/>
            <a:chExt cx="3242941" cy="1102222"/>
          </a:xfrm>
        </p:grpSpPr>
        <p:sp>
          <p:nvSpPr>
            <p:cNvPr id="1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4" name="组合 163"/>
            <p:cNvGrpSpPr/>
            <p:nvPr/>
          </p:nvGrpSpPr>
          <p:grpSpPr>
            <a:xfrm>
              <a:off x="2921957" y="5168150"/>
              <a:ext cx="542765" cy="642593"/>
              <a:chOff x="3102298" y="5183391"/>
              <a:chExt cx="501880" cy="594188"/>
            </a:xfrm>
          </p:grpSpPr>
          <p:sp>
            <p:nvSpPr>
              <p:cNvPr id="205"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5" name="组合 164"/>
            <p:cNvGrpSpPr/>
            <p:nvPr/>
          </p:nvGrpSpPr>
          <p:grpSpPr>
            <a:xfrm>
              <a:off x="4196892" y="5154476"/>
              <a:ext cx="444417" cy="649987"/>
              <a:chOff x="4257853" y="5169716"/>
              <a:chExt cx="410940" cy="601025"/>
            </a:xfrm>
          </p:grpSpPr>
          <p:sp>
            <p:nvSpPr>
              <p:cNvPr id="200"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6"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4" name="矩形: 对角圆角 63"/>
          <p:cNvSpPr/>
          <p:nvPr/>
        </p:nvSpPr>
        <p:spPr>
          <a:xfrm>
            <a:off x="4026405" y="18783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 name="文本占位符 6"/>
          <p:cNvSpPr>
            <a:spLocks noGrp="1"/>
          </p:cNvSpPr>
          <p:nvPr>
            <p:ph type="body" sz="quarter" idx="10"/>
          </p:nvPr>
        </p:nvSpPr>
        <p:spPr>
          <a:xfrm>
            <a:off x="4829476" y="14859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5" name="文本占位符 6"/>
          <p:cNvSpPr>
            <a:spLocks noGrp="1"/>
          </p:cNvSpPr>
          <p:nvPr>
            <p:ph type="body" sz="quarter" idx="11"/>
          </p:nvPr>
        </p:nvSpPr>
        <p:spPr>
          <a:xfrm>
            <a:off x="4829476" y="18495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6" name="文本占位符 6"/>
          <p:cNvSpPr>
            <a:spLocks noGrp="1"/>
          </p:cNvSpPr>
          <p:nvPr>
            <p:ph type="body" sz="quarter" idx="12" hasCustomPrompt="1"/>
          </p:nvPr>
        </p:nvSpPr>
        <p:spPr>
          <a:xfrm>
            <a:off x="3992304" y="1358654"/>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67" name="直接连接符 66"/>
          <p:cNvCxnSpPr/>
          <p:nvPr/>
        </p:nvCxnSpPr>
        <p:spPr>
          <a:xfrm>
            <a:off x="4829476" y="20604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矩形: 对角圆角 99"/>
          <p:cNvSpPr/>
          <p:nvPr userDrawn="1"/>
        </p:nvSpPr>
        <p:spPr>
          <a:xfrm>
            <a:off x="4026405" y="32209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1" name="文本占位符 6"/>
          <p:cNvSpPr>
            <a:spLocks noGrp="1"/>
          </p:cNvSpPr>
          <p:nvPr>
            <p:ph type="body" sz="quarter" idx="13"/>
          </p:nvPr>
        </p:nvSpPr>
        <p:spPr>
          <a:xfrm>
            <a:off x="4829476" y="28285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02" name="文本占位符 6"/>
          <p:cNvSpPr>
            <a:spLocks noGrp="1"/>
          </p:cNvSpPr>
          <p:nvPr>
            <p:ph type="body" sz="quarter" idx="14"/>
          </p:nvPr>
        </p:nvSpPr>
        <p:spPr>
          <a:xfrm>
            <a:off x="4829476" y="31922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03" name="文本占位符 6"/>
          <p:cNvSpPr>
            <a:spLocks noGrp="1"/>
          </p:cNvSpPr>
          <p:nvPr>
            <p:ph type="body" sz="quarter" idx="15" hasCustomPrompt="1"/>
          </p:nvPr>
        </p:nvSpPr>
        <p:spPr>
          <a:xfrm>
            <a:off x="3954633" y="270131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104" name="直接连接符 103"/>
          <p:cNvCxnSpPr/>
          <p:nvPr userDrawn="1"/>
        </p:nvCxnSpPr>
        <p:spPr>
          <a:xfrm>
            <a:off x="4829476" y="34031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6" name="矩形: 对角圆角 105"/>
          <p:cNvSpPr/>
          <p:nvPr userDrawn="1"/>
        </p:nvSpPr>
        <p:spPr>
          <a:xfrm>
            <a:off x="4026405" y="45636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7" name="文本占位符 6"/>
          <p:cNvSpPr>
            <a:spLocks noGrp="1"/>
          </p:cNvSpPr>
          <p:nvPr>
            <p:ph type="body" sz="quarter" idx="16"/>
          </p:nvPr>
        </p:nvSpPr>
        <p:spPr>
          <a:xfrm>
            <a:off x="4829476" y="41712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08" name="文本占位符 6"/>
          <p:cNvSpPr>
            <a:spLocks noGrp="1"/>
          </p:cNvSpPr>
          <p:nvPr>
            <p:ph type="body" sz="quarter" idx="17"/>
          </p:nvPr>
        </p:nvSpPr>
        <p:spPr>
          <a:xfrm>
            <a:off x="4829476" y="45349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09" name="文本占位符 6"/>
          <p:cNvSpPr>
            <a:spLocks noGrp="1"/>
          </p:cNvSpPr>
          <p:nvPr>
            <p:ph type="body" sz="quarter" idx="18" hasCustomPrompt="1"/>
          </p:nvPr>
        </p:nvSpPr>
        <p:spPr>
          <a:xfrm>
            <a:off x="3945817" y="4043980"/>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110" name="直接连接符 109"/>
          <p:cNvCxnSpPr/>
          <p:nvPr userDrawn="1"/>
        </p:nvCxnSpPr>
        <p:spPr>
          <a:xfrm>
            <a:off x="4829476" y="47457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1" name="矩形: 对角圆角 110"/>
          <p:cNvSpPr/>
          <p:nvPr userDrawn="1"/>
        </p:nvSpPr>
        <p:spPr>
          <a:xfrm>
            <a:off x="8224506" y="18783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2" name="文本占位符 6"/>
          <p:cNvSpPr>
            <a:spLocks noGrp="1"/>
          </p:cNvSpPr>
          <p:nvPr>
            <p:ph type="body" sz="quarter" idx="19"/>
          </p:nvPr>
        </p:nvSpPr>
        <p:spPr>
          <a:xfrm>
            <a:off x="9027577" y="14859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13" name="文本占位符 6"/>
          <p:cNvSpPr>
            <a:spLocks noGrp="1"/>
          </p:cNvSpPr>
          <p:nvPr>
            <p:ph type="body" sz="quarter" idx="20"/>
          </p:nvPr>
        </p:nvSpPr>
        <p:spPr>
          <a:xfrm>
            <a:off x="9027577" y="18495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14" name="文本占位符 6"/>
          <p:cNvSpPr>
            <a:spLocks noGrp="1"/>
          </p:cNvSpPr>
          <p:nvPr>
            <p:ph type="body" sz="quarter" idx="21" hasCustomPrompt="1"/>
          </p:nvPr>
        </p:nvSpPr>
        <p:spPr>
          <a:xfrm>
            <a:off x="8153536" y="13586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115" name="直接连接符 114"/>
          <p:cNvCxnSpPr/>
          <p:nvPr userDrawn="1"/>
        </p:nvCxnSpPr>
        <p:spPr>
          <a:xfrm>
            <a:off x="9027577" y="20604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6" name="矩形: 对角圆角 115"/>
          <p:cNvSpPr/>
          <p:nvPr userDrawn="1"/>
        </p:nvSpPr>
        <p:spPr>
          <a:xfrm>
            <a:off x="8224506" y="32209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7" name="文本占位符 6"/>
          <p:cNvSpPr>
            <a:spLocks noGrp="1"/>
          </p:cNvSpPr>
          <p:nvPr>
            <p:ph type="body" sz="quarter" idx="22"/>
          </p:nvPr>
        </p:nvSpPr>
        <p:spPr>
          <a:xfrm>
            <a:off x="9027577" y="28285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18" name="文本占位符 6"/>
          <p:cNvSpPr>
            <a:spLocks noGrp="1"/>
          </p:cNvSpPr>
          <p:nvPr>
            <p:ph type="body" sz="quarter" idx="23"/>
          </p:nvPr>
        </p:nvSpPr>
        <p:spPr>
          <a:xfrm>
            <a:off x="9027577" y="31922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19" name="文本占位符 6"/>
          <p:cNvSpPr>
            <a:spLocks noGrp="1"/>
          </p:cNvSpPr>
          <p:nvPr>
            <p:ph type="body" sz="quarter" idx="24" hasCustomPrompt="1"/>
          </p:nvPr>
        </p:nvSpPr>
        <p:spPr>
          <a:xfrm>
            <a:off x="8142315" y="2701317"/>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120" name="直接连接符 119"/>
          <p:cNvCxnSpPr/>
          <p:nvPr userDrawn="1"/>
        </p:nvCxnSpPr>
        <p:spPr>
          <a:xfrm>
            <a:off x="9027577" y="34031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1" name="矩形: 对角圆角 120"/>
          <p:cNvSpPr/>
          <p:nvPr userDrawn="1"/>
        </p:nvSpPr>
        <p:spPr>
          <a:xfrm>
            <a:off x="8224506" y="45636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2" name="文本占位符 6"/>
          <p:cNvSpPr>
            <a:spLocks noGrp="1"/>
          </p:cNvSpPr>
          <p:nvPr>
            <p:ph type="body" sz="quarter" idx="25"/>
          </p:nvPr>
        </p:nvSpPr>
        <p:spPr>
          <a:xfrm>
            <a:off x="9027577" y="41712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23" name="文本占位符 6"/>
          <p:cNvSpPr>
            <a:spLocks noGrp="1"/>
          </p:cNvSpPr>
          <p:nvPr>
            <p:ph type="body" sz="quarter" idx="26"/>
          </p:nvPr>
        </p:nvSpPr>
        <p:spPr>
          <a:xfrm>
            <a:off x="9027577" y="45349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24" name="文本占位符 6"/>
          <p:cNvSpPr>
            <a:spLocks noGrp="1"/>
          </p:cNvSpPr>
          <p:nvPr>
            <p:ph type="body" sz="quarter" idx="27" hasCustomPrompt="1"/>
          </p:nvPr>
        </p:nvSpPr>
        <p:spPr>
          <a:xfrm>
            <a:off x="8140712" y="4043980"/>
            <a:ext cx="848309"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6</a:t>
            </a:r>
            <a:endParaRPr lang="en-US" dirty="0"/>
          </a:p>
        </p:txBody>
      </p:sp>
      <p:cxnSp>
        <p:nvCxnSpPr>
          <p:cNvPr id="125" name="直接连接符 124"/>
          <p:cNvCxnSpPr/>
          <p:nvPr userDrawn="1"/>
        </p:nvCxnSpPr>
        <p:spPr>
          <a:xfrm>
            <a:off x="9027577" y="47457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目录2-1">
    <p:spTree>
      <p:nvGrpSpPr>
        <p:cNvPr id="1" name=""/>
        <p:cNvGrpSpPr/>
        <p:nvPr/>
      </p:nvGrpSpPr>
      <p:grpSpPr>
        <a:xfrm>
          <a:off x="0" y="0"/>
          <a:ext cx="0" cy="0"/>
          <a:chOff x="0" y="0"/>
          <a:chExt cx="0" cy="0"/>
        </a:xfrm>
      </p:grpSpPr>
      <p:pic>
        <p:nvPicPr>
          <p:cNvPr id="2" name="图片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Lst>
          </a:blip>
          <a:srcRect r="-28665"/>
          <a:stretch>
            <a:fillRect/>
          </a:stretch>
        </p:blipFill>
        <p:spPr>
          <a:xfrm>
            <a:off x="0" y="0"/>
            <a:ext cx="10287000" cy="6858000"/>
          </a:xfrm>
          <a:prstGeom prst="rect">
            <a:avLst/>
          </a:prstGeom>
        </p:spPr>
      </p:pic>
      <p:sp>
        <p:nvSpPr>
          <p:cNvPr id="3" name="矩形 2"/>
          <p:cNvSpPr/>
          <p:nvPr userDrawn="1"/>
        </p:nvSpPr>
        <p:spPr>
          <a:xfrm>
            <a:off x="2395959" y="0"/>
            <a:ext cx="9796041" cy="6858000"/>
          </a:xfrm>
          <a:prstGeom prst="rect">
            <a:avLst/>
          </a:prstGeom>
          <a:gradFill flip="none" rotWithShape="1">
            <a:gsLst>
              <a:gs pos="0">
                <a:schemeClr val="bg1">
                  <a:alpha val="0"/>
                </a:schemeClr>
              </a:gs>
              <a:gs pos="16000">
                <a:schemeClr val="bg1"/>
              </a:gs>
              <a:gs pos="100000">
                <a:schemeClr val="bg1"/>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矩形 3"/>
          <p:cNvSpPr/>
          <p:nvPr userDrawn="1"/>
        </p:nvSpPr>
        <p:spPr>
          <a:xfrm>
            <a:off x="3945817" y="6424560"/>
            <a:ext cx="8246182" cy="50613"/>
          </a:xfrm>
          <a:prstGeom prst="rect">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文本框 94"/>
          <p:cNvSpPr txBox="1"/>
          <p:nvPr userDrawn="1"/>
        </p:nvSpPr>
        <p:spPr>
          <a:xfrm>
            <a:off x="5568738" y="1097451"/>
            <a:ext cx="4583313" cy="548469"/>
          </a:xfrm>
          <a:prstGeom prst="rect">
            <a:avLst/>
          </a:prstGeom>
          <a:noFill/>
        </p:spPr>
        <p:txBody>
          <a:bodyPr wrap="square" lIns="0" rIns="0" rtlCol="0" anchor="ctr">
            <a:noAutofit/>
          </a:bodyPr>
          <a:lstStyle/>
          <a:p>
            <a:pPr algn="dist"/>
            <a:r>
              <a:rPr lang="en-US" altLang="zh-CN" sz="4400" dirty="0">
                <a:ln>
                  <a:noFill/>
                </a:ln>
                <a:solidFill>
                  <a:schemeClr val="bg1">
                    <a:lumMod val="95000"/>
                  </a:schemeClr>
                </a:solidFill>
                <a:latin typeface="Impact" panose="020B0806030902050204" pitchFamily="34" charset="0"/>
              </a:rPr>
              <a:t>CONTENTS</a:t>
            </a:r>
          </a:p>
        </p:txBody>
      </p:sp>
      <p:sp>
        <p:nvSpPr>
          <p:cNvPr id="99" name="标题 1"/>
          <p:cNvSpPr>
            <a:spLocks noGrp="1"/>
          </p:cNvSpPr>
          <p:nvPr>
            <p:ph type="ctrTitle" hasCustomPrompt="1"/>
          </p:nvPr>
        </p:nvSpPr>
        <p:spPr>
          <a:xfrm>
            <a:off x="3992304" y="740780"/>
            <a:ext cx="1748739" cy="877847"/>
          </a:xfrm>
        </p:spPr>
        <p:txBody>
          <a:bodyPr lIns="0" tIns="0" rIns="0" bIns="0" anchor="ctr">
            <a:noAutofit/>
          </a:bodyPr>
          <a:lstStyle>
            <a:lvl1pPr marL="0" algn="dist" defTabSz="457200" rtl="0" eaLnBrk="1" latinLnBrk="0" hangingPunct="1">
              <a:lnSpc>
                <a:spcPct val="100000"/>
              </a:lnSpc>
              <a:defRPr lang="en-US" sz="6000" b="1" kern="1200" spc="600" dirty="0">
                <a:solidFill>
                  <a:schemeClr val="accent1"/>
                </a:solidFill>
                <a:latin typeface="+mn-lt"/>
                <a:ea typeface="+mn-ea"/>
                <a:cs typeface="+mn-cs"/>
              </a:defRPr>
            </a:lvl1pPr>
          </a:lstStyle>
          <a:p>
            <a:r>
              <a:rPr lang="zh-CN" altLang="en-US" dirty="0"/>
              <a:t>目录</a:t>
            </a:r>
            <a:endParaRPr lang="en-US" dirty="0"/>
          </a:p>
        </p:txBody>
      </p:sp>
      <p:cxnSp>
        <p:nvCxnSpPr>
          <p:cNvPr id="97" name="直接连接符 96"/>
          <p:cNvCxnSpPr/>
          <p:nvPr userDrawn="1"/>
        </p:nvCxnSpPr>
        <p:spPr>
          <a:xfrm>
            <a:off x="3992304" y="1652733"/>
            <a:ext cx="1748739" cy="0"/>
          </a:xfrm>
          <a:prstGeom prst="line">
            <a:avLst/>
          </a:prstGeom>
          <a:ln w="28575">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98" name="直接连接符 97"/>
          <p:cNvCxnSpPr/>
          <p:nvPr userDrawn="1"/>
        </p:nvCxnSpPr>
        <p:spPr>
          <a:xfrm>
            <a:off x="3992304" y="1728933"/>
            <a:ext cx="1748739" cy="0"/>
          </a:xfrm>
          <a:prstGeom prst="line">
            <a:avLst/>
          </a:prstGeom>
          <a:ln w="6350">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157" name="组合 156"/>
          <p:cNvGrpSpPr/>
          <p:nvPr userDrawn="1"/>
        </p:nvGrpSpPr>
        <p:grpSpPr>
          <a:xfrm>
            <a:off x="10477913" y="446123"/>
            <a:ext cx="1234662" cy="419641"/>
            <a:chOff x="1398368" y="5051425"/>
            <a:chExt cx="3242941" cy="1102222"/>
          </a:xfrm>
        </p:grpSpPr>
        <p:sp>
          <p:nvSpPr>
            <p:cNvPr id="158"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1" name="组合 160"/>
            <p:cNvGrpSpPr/>
            <p:nvPr/>
          </p:nvGrpSpPr>
          <p:grpSpPr>
            <a:xfrm>
              <a:off x="2921957" y="5168150"/>
              <a:ext cx="542765" cy="642593"/>
              <a:chOff x="3102298" y="5183391"/>
              <a:chExt cx="501880" cy="594188"/>
            </a:xfrm>
          </p:grpSpPr>
          <p:sp>
            <p:nvSpPr>
              <p:cNvPr id="202"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2" name="组合 161"/>
            <p:cNvGrpSpPr/>
            <p:nvPr/>
          </p:nvGrpSpPr>
          <p:grpSpPr>
            <a:xfrm>
              <a:off x="4196892" y="5154476"/>
              <a:ext cx="444417" cy="649987"/>
              <a:chOff x="4257853" y="5169716"/>
              <a:chExt cx="410940" cy="601025"/>
            </a:xfrm>
          </p:grpSpPr>
          <p:sp>
            <p:nvSpPr>
              <p:cNvPr id="197"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3"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6"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57" name="矩形: 对角圆角 56"/>
          <p:cNvSpPr/>
          <p:nvPr userDrawn="1"/>
        </p:nvSpPr>
        <p:spPr>
          <a:xfrm>
            <a:off x="4026405"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58" name="文本占位符 6"/>
          <p:cNvSpPr>
            <a:spLocks noGrp="1"/>
          </p:cNvSpPr>
          <p:nvPr>
            <p:ph type="body" sz="quarter" idx="10"/>
          </p:nvPr>
        </p:nvSpPr>
        <p:spPr>
          <a:xfrm>
            <a:off x="4829476" y="24003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59" name="文本占位符 6"/>
          <p:cNvSpPr>
            <a:spLocks noGrp="1"/>
          </p:cNvSpPr>
          <p:nvPr>
            <p:ph type="body" sz="quarter" idx="11"/>
          </p:nvPr>
        </p:nvSpPr>
        <p:spPr>
          <a:xfrm>
            <a:off x="4829476" y="27639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0" name="文本占位符 6"/>
          <p:cNvSpPr>
            <a:spLocks noGrp="1"/>
          </p:cNvSpPr>
          <p:nvPr>
            <p:ph type="body" sz="quarter" idx="12" hasCustomPrompt="1"/>
          </p:nvPr>
        </p:nvSpPr>
        <p:spPr>
          <a:xfrm>
            <a:off x="3992304" y="2273054"/>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61" name="直接连接符 60"/>
          <p:cNvCxnSpPr/>
          <p:nvPr userDrawn="1"/>
        </p:nvCxnSpPr>
        <p:spPr>
          <a:xfrm>
            <a:off x="4829476" y="29748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2" name="矩形: 对角圆角 61"/>
          <p:cNvSpPr/>
          <p:nvPr userDrawn="1"/>
        </p:nvSpPr>
        <p:spPr>
          <a:xfrm>
            <a:off x="4026405" y="41353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3" name="文本占位符 6"/>
          <p:cNvSpPr>
            <a:spLocks noGrp="1"/>
          </p:cNvSpPr>
          <p:nvPr>
            <p:ph type="body" sz="quarter" idx="13"/>
          </p:nvPr>
        </p:nvSpPr>
        <p:spPr>
          <a:xfrm>
            <a:off x="4829476" y="37429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4" name="文本占位符 6"/>
          <p:cNvSpPr>
            <a:spLocks noGrp="1"/>
          </p:cNvSpPr>
          <p:nvPr>
            <p:ph type="body" sz="quarter" idx="14"/>
          </p:nvPr>
        </p:nvSpPr>
        <p:spPr>
          <a:xfrm>
            <a:off x="4829476" y="41066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5" name="文本占位符 6"/>
          <p:cNvSpPr>
            <a:spLocks noGrp="1"/>
          </p:cNvSpPr>
          <p:nvPr>
            <p:ph type="body" sz="quarter" idx="15" hasCustomPrompt="1"/>
          </p:nvPr>
        </p:nvSpPr>
        <p:spPr>
          <a:xfrm>
            <a:off x="3954633" y="361571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66" name="直接连接符 65"/>
          <p:cNvCxnSpPr/>
          <p:nvPr userDrawn="1"/>
        </p:nvCxnSpPr>
        <p:spPr>
          <a:xfrm>
            <a:off x="4829476" y="43175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7" name="矩形: 对角圆角 66"/>
          <p:cNvSpPr/>
          <p:nvPr userDrawn="1"/>
        </p:nvSpPr>
        <p:spPr>
          <a:xfrm>
            <a:off x="4026405" y="54780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8" name="文本占位符 6"/>
          <p:cNvSpPr>
            <a:spLocks noGrp="1"/>
          </p:cNvSpPr>
          <p:nvPr>
            <p:ph type="body" sz="quarter" idx="16"/>
          </p:nvPr>
        </p:nvSpPr>
        <p:spPr>
          <a:xfrm>
            <a:off x="4829476" y="50856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9" name="文本占位符 6"/>
          <p:cNvSpPr>
            <a:spLocks noGrp="1"/>
          </p:cNvSpPr>
          <p:nvPr>
            <p:ph type="body" sz="quarter" idx="17"/>
          </p:nvPr>
        </p:nvSpPr>
        <p:spPr>
          <a:xfrm>
            <a:off x="4829476" y="54493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0" name="文本占位符 6"/>
          <p:cNvSpPr>
            <a:spLocks noGrp="1"/>
          </p:cNvSpPr>
          <p:nvPr>
            <p:ph type="body" sz="quarter" idx="18" hasCustomPrompt="1"/>
          </p:nvPr>
        </p:nvSpPr>
        <p:spPr>
          <a:xfrm>
            <a:off x="3945817" y="4958380"/>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71" name="直接连接符 70"/>
          <p:cNvCxnSpPr/>
          <p:nvPr userDrawn="1"/>
        </p:nvCxnSpPr>
        <p:spPr>
          <a:xfrm>
            <a:off x="4829476" y="56601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矩形: 对角圆角 71"/>
          <p:cNvSpPr/>
          <p:nvPr userDrawn="1"/>
        </p:nvSpPr>
        <p:spPr>
          <a:xfrm>
            <a:off x="8224506"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3" name="文本占位符 6"/>
          <p:cNvSpPr>
            <a:spLocks noGrp="1"/>
          </p:cNvSpPr>
          <p:nvPr>
            <p:ph type="body" sz="quarter" idx="19"/>
          </p:nvPr>
        </p:nvSpPr>
        <p:spPr>
          <a:xfrm>
            <a:off x="9027577" y="24003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4" name="文本占位符 6"/>
          <p:cNvSpPr>
            <a:spLocks noGrp="1"/>
          </p:cNvSpPr>
          <p:nvPr>
            <p:ph type="body" sz="quarter" idx="20"/>
          </p:nvPr>
        </p:nvSpPr>
        <p:spPr>
          <a:xfrm>
            <a:off x="9027577" y="27639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5" name="文本占位符 6"/>
          <p:cNvSpPr>
            <a:spLocks noGrp="1"/>
          </p:cNvSpPr>
          <p:nvPr>
            <p:ph type="body" sz="quarter" idx="21" hasCustomPrompt="1"/>
          </p:nvPr>
        </p:nvSpPr>
        <p:spPr>
          <a:xfrm>
            <a:off x="8153536" y="22730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76" name="直接连接符 75"/>
          <p:cNvCxnSpPr/>
          <p:nvPr userDrawn="1"/>
        </p:nvCxnSpPr>
        <p:spPr>
          <a:xfrm>
            <a:off x="9027577" y="29748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7" name="矩形: 对角圆角 76"/>
          <p:cNvSpPr/>
          <p:nvPr userDrawn="1"/>
        </p:nvSpPr>
        <p:spPr>
          <a:xfrm>
            <a:off x="8224506" y="41353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8" name="文本占位符 6"/>
          <p:cNvSpPr>
            <a:spLocks noGrp="1"/>
          </p:cNvSpPr>
          <p:nvPr>
            <p:ph type="body" sz="quarter" idx="22"/>
          </p:nvPr>
        </p:nvSpPr>
        <p:spPr>
          <a:xfrm>
            <a:off x="9027577" y="37429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9" name="文本占位符 6"/>
          <p:cNvSpPr>
            <a:spLocks noGrp="1"/>
          </p:cNvSpPr>
          <p:nvPr>
            <p:ph type="body" sz="quarter" idx="23"/>
          </p:nvPr>
        </p:nvSpPr>
        <p:spPr>
          <a:xfrm>
            <a:off x="9027577" y="41066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0" name="文本占位符 6"/>
          <p:cNvSpPr>
            <a:spLocks noGrp="1"/>
          </p:cNvSpPr>
          <p:nvPr>
            <p:ph type="body" sz="quarter" idx="24" hasCustomPrompt="1"/>
          </p:nvPr>
        </p:nvSpPr>
        <p:spPr>
          <a:xfrm>
            <a:off x="8142315" y="3615717"/>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81" name="直接连接符 80"/>
          <p:cNvCxnSpPr/>
          <p:nvPr userDrawn="1"/>
        </p:nvCxnSpPr>
        <p:spPr>
          <a:xfrm>
            <a:off x="9027577" y="43175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2" name="矩形: 对角圆角 81"/>
          <p:cNvSpPr/>
          <p:nvPr userDrawn="1"/>
        </p:nvSpPr>
        <p:spPr>
          <a:xfrm>
            <a:off x="8224506" y="54780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3" name="文本占位符 6"/>
          <p:cNvSpPr>
            <a:spLocks noGrp="1"/>
          </p:cNvSpPr>
          <p:nvPr>
            <p:ph type="body" sz="quarter" idx="25"/>
          </p:nvPr>
        </p:nvSpPr>
        <p:spPr>
          <a:xfrm>
            <a:off x="9027577" y="50856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4" name="文本占位符 6"/>
          <p:cNvSpPr>
            <a:spLocks noGrp="1"/>
          </p:cNvSpPr>
          <p:nvPr>
            <p:ph type="body" sz="quarter" idx="26"/>
          </p:nvPr>
        </p:nvSpPr>
        <p:spPr>
          <a:xfrm>
            <a:off x="9027577" y="54493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5" name="文本占位符 6"/>
          <p:cNvSpPr>
            <a:spLocks noGrp="1"/>
          </p:cNvSpPr>
          <p:nvPr>
            <p:ph type="body" sz="quarter" idx="27" hasCustomPrompt="1"/>
          </p:nvPr>
        </p:nvSpPr>
        <p:spPr>
          <a:xfrm>
            <a:off x="8140712" y="4958380"/>
            <a:ext cx="848309"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6</a:t>
            </a:r>
            <a:endParaRPr lang="en-US" dirty="0"/>
          </a:p>
        </p:txBody>
      </p:sp>
      <p:cxnSp>
        <p:nvCxnSpPr>
          <p:cNvPr id="86" name="直接连接符 85"/>
          <p:cNvCxnSpPr/>
          <p:nvPr userDrawn="1"/>
        </p:nvCxnSpPr>
        <p:spPr>
          <a:xfrm>
            <a:off x="9027577" y="56601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矩形 6"/>
          <p:cNvSpPr/>
          <p:nvPr userDrawn="1"/>
        </p:nvSpPr>
        <p:spPr>
          <a:xfrm>
            <a:off x="0" y="0"/>
            <a:ext cx="12192000" cy="6858000"/>
          </a:xfrm>
          <a:prstGeom prst="rect">
            <a:avLst/>
          </a:prstGeom>
          <a:pattFill prst="ltUpDiag">
            <a:fgClr>
              <a:schemeClr val="bg1">
                <a:lumMod val="9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文本占位符 2"/>
          <p:cNvSpPr>
            <a:spLocks noGrp="1"/>
          </p:cNvSpPr>
          <p:nvPr>
            <p:ph type="body" idx="1"/>
          </p:nvPr>
        </p:nvSpPr>
        <p:spPr>
          <a:xfrm>
            <a:off x="518809" y="1196975"/>
            <a:ext cx="11185511" cy="4921723"/>
          </a:xfrm>
          <a:prstGeom prst="rect">
            <a:avLst/>
          </a:prstGeom>
        </p:spPr>
        <p:txBody>
          <a:bodyPr vert="horz" lIns="91440" tIns="45720" rIns="91440" bIns="45720" rtlCol="0">
            <a:no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
        <p:nvSpPr>
          <p:cNvPr id="2" name="标题占位符 1"/>
          <p:cNvSpPr>
            <a:spLocks noGrp="1"/>
          </p:cNvSpPr>
          <p:nvPr>
            <p:ph type="title"/>
          </p:nvPr>
        </p:nvSpPr>
        <p:spPr>
          <a:xfrm>
            <a:off x="518809" y="365126"/>
            <a:ext cx="11185511" cy="578454"/>
          </a:xfrm>
          <a:prstGeom prst="rect">
            <a:avLst/>
          </a:prstGeom>
        </p:spPr>
        <p:txBody>
          <a:bodyPr vert="horz" lIns="0" tIns="0" rIns="0" bIns="0" rtlCol="0" anchor="ctr">
            <a:noAutofit/>
          </a:bodyPr>
          <a:lstStyle/>
          <a:p>
            <a:r>
              <a:rPr lang="zh-CN" altLang="en-US" dirty="0"/>
              <a:t>单击此处编辑母版标题样式</a:t>
            </a:r>
            <a:endParaRPr lang="en-US" dirty="0"/>
          </a:p>
        </p:txBody>
      </p:sp>
      <p:sp>
        <p:nvSpPr>
          <p:cNvPr id="4" name="日期占位符 3"/>
          <p:cNvSpPr>
            <a:spLocks noGrp="1"/>
          </p:cNvSpPr>
          <p:nvPr>
            <p:ph type="dt" sz="half" idx="2"/>
          </p:nvPr>
        </p:nvSpPr>
        <p:spPr>
          <a:xfrm>
            <a:off x="518809"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ea typeface="微软雅黑" panose="020B0503020204020204" charset="-122"/>
              <a:cs typeface="+mn-cs"/>
            </a:endParaRPr>
          </a:p>
        </p:txBody>
      </p:sp>
      <p:sp>
        <p:nvSpPr>
          <p:cNvPr id="6" name="灯片编号占位符 5"/>
          <p:cNvSpPr>
            <a:spLocks noGrp="1"/>
          </p:cNvSpPr>
          <p:nvPr>
            <p:ph type="sldNum" sz="quarter" idx="4"/>
          </p:nvPr>
        </p:nvSpPr>
        <p:spPr>
          <a:xfrm>
            <a:off x="5913768" y="6356350"/>
            <a:ext cx="39559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sp>
        <p:nvSpPr>
          <p:cNvPr id="5" name="页脚占位符 4"/>
          <p:cNvSpPr>
            <a:spLocks noGrp="1"/>
          </p:cNvSpPr>
          <p:nvPr>
            <p:ph type="ftr" sz="quarter" idx="3"/>
          </p:nvPr>
        </p:nvSpPr>
        <p:spPr>
          <a:xfrm>
            <a:off x="8961120" y="6356350"/>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ea typeface="微软雅黑" panose="020B0503020204020204" charset="-122"/>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Lst>
  <p:hf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46.png"/><Relationship Id="rId4" Type="http://schemas.openxmlformats.org/officeDocument/2006/relationships/image" Target="../media/image4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35.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414021" y="2160386"/>
            <a:ext cx="9363958" cy="1244444"/>
          </a:xfrm>
        </p:spPr>
        <p:txBody>
          <a:bodyPr/>
          <a:lstStyle/>
          <a:p>
            <a:pPr algn="dist"/>
            <a:r>
              <a:rPr lang="zh-CN" altLang="en-US" sz="4000" dirty="0">
                <a:cs typeface="+mn-ea"/>
                <a:sym typeface="+mn-lt"/>
              </a:rPr>
              <a:t>基于证据学习的决策树的可视化实现</a:t>
            </a:r>
            <a:endParaRPr lang="en-US" sz="4000" dirty="0">
              <a:cs typeface="+mn-ea"/>
              <a:sym typeface="+mn-lt"/>
            </a:endParaRPr>
          </a:p>
        </p:txBody>
      </p:sp>
      <p:sp>
        <p:nvSpPr>
          <p:cNvPr id="5" name="文本占位符 4"/>
          <p:cNvSpPr>
            <a:spLocks noGrp="1"/>
          </p:cNvSpPr>
          <p:nvPr>
            <p:ph type="body" sz="quarter" idx="15"/>
          </p:nvPr>
        </p:nvSpPr>
        <p:spPr/>
        <p:txBody>
          <a:bodyPr/>
          <a:lstStyle/>
          <a:p>
            <a:r>
              <a:rPr lang="zh-CN" altLang="en-US" dirty="0">
                <a:cs typeface="+mn-ea"/>
                <a:sym typeface="+mn-lt"/>
              </a:rPr>
              <a:t>指导教师：陈伦德</a:t>
            </a:r>
          </a:p>
        </p:txBody>
      </p:sp>
      <p:sp>
        <p:nvSpPr>
          <p:cNvPr id="7" name="文本占位符 6"/>
          <p:cNvSpPr>
            <a:spLocks noGrp="1"/>
          </p:cNvSpPr>
          <p:nvPr>
            <p:ph type="body" sz="quarter" idx="16"/>
          </p:nvPr>
        </p:nvSpPr>
        <p:spPr>
          <a:xfrm>
            <a:off x="2705493" y="4328160"/>
            <a:ext cx="2960017" cy="454199"/>
          </a:xfrm>
        </p:spPr>
        <p:txBody>
          <a:bodyPr/>
          <a:lstStyle/>
          <a:p>
            <a:r>
              <a:rPr lang="zh-CN" altLang="en-US" dirty="0">
                <a:cs typeface="+mn-ea"/>
                <a:sym typeface="+mn-lt"/>
              </a:rPr>
              <a:t>答辩人：</a:t>
            </a:r>
            <a:r>
              <a:rPr lang="en-US" altLang="zh-CN" dirty="0">
                <a:cs typeface="+mn-ea"/>
                <a:sym typeface="+mn-lt"/>
              </a:rPr>
              <a:t>18124666 </a:t>
            </a:r>
            <a:r>
              <a:rPr lang="zh-CN" altLang="en-US" dirty="0">
                <a:cs typeface="+mn-ea"/>
                <a:sym typeface="+mn-lt"/>
              </a:rPr>
              <a:t>诸逸冰</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a:t>Manim</a:t>
            </a:r>
            <a:r>
              <a:rPr lang="zh-CN" altLang="en-US" dirty="0"/>
              <a:t>库的基本开发方式</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10</a:t>
            </a:fld>
            <a:endParaRPr lang="en-US" dirty="0">
              <a:solidFill>
                <a:srgbClr val="000000">
                  <a:tint val="75000"/>
                </a:srgbClr>
              </a:solidFill>
              <a:cs typeface="+mn-ea"/>
              <a:sym typeface="+mn-lt"/>
            </a:endParaRPr>
          </a:p>
        </p:txBody>
      </p:sp>
      <p:pic>
        <p:nvPicPr>
          <p:cNvPr id="6" name="图片占位符 5"/>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4" r="14"/>
          <a:stretch>
            <a:fillRect/>
          </a:stretch>
        </p:blipFill>
        <p:spPr/>
      </p:pic>
      <p:grpSp>
        <p:nvGrpSpPr>
          <p:cNvPr id="69" name="组合 68"/>
          <p:cNvGrpSpPr/>
          <p:nvPr/>
        </p:nvGrpSpPr>
        <p:grpSpPr>
          <a:xfrm>
            <a:off x="5437879" y="1402773"/>
            <a:ext cx="628604" cy="813129"/>
            <a:chOff x="5447808" y="1423555"/>
            <a:chExt cx="628604" cy="813129"/>
          </a:xfrm>
        </p:grpSpPr>
        <p:sp>
          <p:nvSpPr>
            <p:cNvPr id="16" name="Oval 16"/>
            <p:cNvSpPr/>
            <p:nvPr/>
          </p:nvSpPr>
          <p:spPr>
            <a:xfrm>
              <a:off x="5546573" y="2128013"/>
              <a:ext cx="431073" cy="108671"/>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7" name="Teardrop 12"/>
            <p:cNvSpPr/>
            <p:nvPr/>
          </p:nvSpPr>
          <p:spPr>
            <a:xfrm rot="8100000">
              <a:off x="5447808" y="1423555"/>
              <a:ext cx="628604" cy="628604"/>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8" name="Oval 14"/>
            <p:cNvSpPr/>
            <p:nvPr/>
          </p:nvSpPr>
          <p:spPr>
            <a:xfrm>
              <a:off x="5556969" y="1532716"/>
              <a:ext cx="410281" cy="4102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19" name="Group 48"/>
            <p:cNvGrpSpPr/>
            <p:nvPr/>
          </p:nvGrpSpPr>
          <p:grpSpPr>
            <a:xfrm>
              <a:off x="5653053" y="1611659"/>
              <a:ext cx="219591" cy="215909"/>
              <a:chOff x="7615238" y="3059113"/>
              <a:chExt cx="284163" cy="279399"/>
            </a:xfrm>
            <a:solidFill>
              <a:schemeClr val="accent1"/>
            </a:solidFill>
          </p:grpSpPr>
          <p:sp>
            <p:nvSpPr>
              <p:cNvPr id="20" name="Freeform 282"/>
              <p:cNvSpPr>
                <a:spLocks noEditPoints="1"/>
              </p:cNvSpPr>
              <p:nvPr/>
            </p:nvSpPr>
            <p:spPr bwMode="auto">
              <a:xfrm>
                <a:off x="7696200" y="3059113"/>
                <a:ext cx="123825" cy="127000"/>
              </a:xfrm>
              <a:custGeom>
                <a:avLst/>
                <a:gdLst>
                  <a:gd name="T0" fmla="*/ 198 w 389"/>
                  <a:gd name="T1" fmla="*/ 284 h 404"/>
                  <a:gd name="T2" fmla="*/ 190 w 389"/>
                  <a:gd name="T3" fmla="*/ 284 h 404"/>
                  <a:gd name="T4" fmla="*/ 94 w 389"/>
                  <a:gd name="T5" fmla="*/ 347 h 404"/>
                  <a:gd name="T6" fmla="*/ 134 w 389"/>
                  <a:gd name="T7" fmla="*/ 253 h 404"/>
                  <a:gd name="T8" fmla="*/ 132 w 389"/>
                  <a:gd name="T9" fmla="*/ 245 h 404"/>
                  <a:gd name="T10" fmla="*/ 56 w 389"/>
                  <a:gd name="T11" fmla="*/ 179 h 404"/>
                  <a:gd name="T12" fmla="*/ 155 w 389"/>
                  <a:gd name="T13" fmla="*/ 178 h 404"/>
                  <a:gd name="T14" fmla="*/ 161 w 389"/>
                  <a:gd name="T15" fmla="*/ 173 h 404"/>
                  <a:gd name="T16" fmla="*/ 194 w 389"/>
                  <a:gd name="T17" fmla="*/ 67 h 404"/>
                  <a:gd name="T18" fmla="*/ 227 w 389"/>
                  <a:gd name="T19" fmla="*/ 173 h 404"/>
                  <a:gd name="T20" fmla="*/ 234 w 389"/>
                  <a:gd name="T21" fmla="*/ 178 h 404"/>
                  <a:gd name="T22" fmla="*/ 333 w 389"/>
                  <a:gd name="T23" fmla="*/ 179 h 404"/>
                  <a:gd name="T24" fmla="*/ 256 w 389"/>
                  <a:gd name="T25" fmla="*/ 247 h 404"/>
                  <a:gd name="T26" fmla="*/ 255 w 389"/>
                  <a:gd name="T27" fmla="*/ 255 h 404"/>
                  <a:gd name="T28" fmla="*/ 295 w 389"/>
                  <a:gd name="T29" fmla="*/ 347 h 404"/>
                  <a:gd name="T30" fmla="*/ 329 w 389"/>
                  <a:gd name="T31" fmla="*/ 404 h 404"/>
                  <a:gd name="T32" fmla="*/ 339 w 389"/>
                  <a:gd name="T33" fmla="*/ 400 h 404"/>
                  <a:gd name="T34" fmla="*/ 343 w 389"/>
                  <a:gd name="T35" fmla="*/ 392 h 404"/>
                  <a:gd name="T36" fmla="*/ 343 w 389"/>
                  <a:gd name="T37" fmla="*/ 383 h 404"/>
                  <a:gd name="T38" fmla="*/ 383 w 389"/>
                  <a:gd name="T39" fmla="*/ 176 h 404"/>
                  <a:gd name="T40" fmla="*/ 388 w 389"/>
                  <a:gd name="T41" fmla="*/ 168 h 404"/>
                  <a:gd name="T42" fmla="*/ 388 w 389"/>
                  <a:gd name="T43" fmla="*/ 159 h 404"/>
                  <a:gd name="T44" fmla="*/ 382 w 389"/>
                  <a:gd name="T45" fmla="*/ 152 h 404"/>
                  <a:gd name="T46" fmla="*/ 374 w 389"/>
                  <a:gd name="T47" fmla="*/ 149 h 404"/>
                  <a:gd name="T48" fmla="*/ 208 w 389"/>
                  <a:gd name="T49" fmla="*/ 10 h 404"/>
                  <a:gd name="T50" fmla="*/ 203 w 389"/>
                  <a:gd name="T51" fmla="*/ 3 h 404"/>
                  <a:gd name="T52" fmla="*/ 194 w 389"/>
                  <a:gd name="T53" fmla="*/ 0 h 404"/>
                  <a:gd name="T54" fmla="*/ 186 w 389"/>
                  <a:gd name="T55" fmla="*/ 3 h 404"/>
                  <a:gd name="T56" fmla="*/ 180 w 389"/>
                  <a:gd name="T57" fmla="*/ 10 h 404"/>
                  <a:gd name="T58" fmla="*/ 15 w 389"/>
                  <a:gd name="T59" fmla="*/ 149 h 404"/>
                  <a:gd name="T60" fmla="*/ 6 w 389"/>
                  <a:gd name="T61" fmla="*/ 152 h 404"/>
                  <a:gd name="T62" fmla="*/ 1 w 389"/>
                  <a:gd name="T63" fmla="*/ 159 h 404"/>
                  <a:gd name="T64" fmla="*/ 1 w 389"/>
                  <a:gd name="T65" fmla="*/ 168 h 404"/>
                  <a:gd name="T66" fmla="*/ 5 w 389"/>
                  <a:gd name="T67" fmla="*/ 176 h 404"/>
                  <a:gd name="T68" fmla="*/ 46 w 389"/>
                  <a:gd name="T69" fmla="*/ 383 h 404"/>
                  <a:gd name="T70" fmla="*/ 46 w 389"/>
                  <a:gd name="T71" fmla="*/ 392 h 404"/>
                  <a:gd name="T72" fmla="*/ 50 w 389"/>
                  <a:gd name="T73" fmla="*/ 400 h 404"/>
                  <a:gd name="T74" fmla="*/ 58 w 389"/>
                  <a:gd name="T75" fmla="*/ 404 h 404"/>
                  <a:gd name="T76" fmla="*/ 68 w 389"/>
                  <a:gd name="T77" fmla="*/ 401 h 404"/>
                  <a:gd name="T78" fmla="*/ 320 w 389"/>
                  <a:gd name="T79" fmla="*/ 401 h 404"/>
                  <a:gd name="T80" fmla="*/ 329 w 389"/>
                  <a:gd name="T81"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9" h="404">
                    <a:moveTo>
                      <a:pt x="203" y="286"/>
                    </a:moveTo>
                    <a:lnTo>
                      <a:pt x="198" y="284"/>
                    </a:lnTo>
                    <a:lnTo>
                      <a:pt x="194" y="284"/>
                    </a:lnTo>
                    <a:lnTo>
                      <a:pt x="190" y="284"/>
                    </a:lnTo>
                    <a:lnTo>
                      <a:pt x="186" y="286"/>
                    </a:lnTo>
                    <a:lnTo>
                      <a:pt x="94" y="347"/>
                    </a:lnTo>
                    <a:lnTo>
                      <a:pt x="133" y="259"/>
                    </a:lnTo>
                    <a:lnTo>
                      <a:pt x="134" y="253"/>
                    </a:lnTo>
                    <a:lnTo>
                      <a:pt x="134" y="249"/>
                    </a:lnTo>
                    <a:lnTo>
                      <a:pt x="132" y="245"/>
                    </a:lnTo>
                    <a:lnTo>
                      <a:pt x="129" y="240"/>
                    </a:lnTo>
                    <a:lnTo>
                      <a:pt x="56" y="179"/>
                    </a:lnTo>
                    <a:lnTo>
                      <a:pt x="149" y="179"/>
                    </a:lnTo>
                    <a:lnTo>
                      <a:pt x="155" y="178"/>
                    </a:lnTo>
                    <a:lnTo>
                      <a:pt x="158" y="176"/>
                    </a:lnTo>
                    <a:lnTo>
                      <a:pt x="161" y="173"/>
                    </a:lnTo>
                    <a:lnTo>
                      <a:pt x="163" y="169"/>
                    </a:lnTo>
                    <a:lnTo>
                      <a:pt x="194" y="67"/>
                    </a:lnTo>
                    <a:lnTo>
                      <a:pt x="225" y="169"/>
                    </a:lnTo>
                    <a:lnTo>
                      <a:pt x="227" y="173"/>
                    </a:lnTo>
                    <a:lnTo>
                      <a:pt x="231" y="176"/>
                    </a:lnTo>
                    <a:lnTo>
                      <a:pt x="234" y="178"/>
                    </a:lnTo>
                    <a:lnTo>
                      <a:pt x="239" y="179"/>
                    </a:lnTo>
                    <a:lnTo>
                      <a:pt x="333" y="179"/>
                    </a:lnTo>
                    <a:lnTo>
                      <a:pt x="259" y="242"/>
                    </a:lnTo>
                    <a:lnTo>
                      <a:pt x="256" y="247"/>
                    </a:lnTo>
                    <a:lnTo>
                      <a:pt x="255" y="251"/>
                    </a:lnTo>
                    <a:lnTo>
                      <a:pt x="255" y="255"/>
                    </a:lnTo>
                    <a:lnTo>
                      <a:pt x="256" y="260"/>
                    </a:lnTo>
                    <a:lnTo>
                      <a:pt x="295" y="347"/>
                    </a:lnTo>
                    <a:lnTo>
                      <a:pt x="203" y="286"/>
                    </a:lnTo>
                    <a:close/>
                    <a:moveTo>
                      <a:pt x="329" y="404"/>
                    </a:moveTo>
                    <a:lnTo>
                      <a:pt x="334" y="403"/>
                    </a:lnTo>
                    <a:lnTo>
                      <a:pt x="339" y="400"/>
                    </a:lnTo>
                    <a:lnTo>
                      <a:pt x="342" y="396"/>
                    </a:lnTo>
                    <a:lnTo>
                      <a:pt x="343" y="392"/>
                    </a:lnTo>
                    <a:lnTo>
                      <a:pt x="344" y="387"/>
                    </a:lnTo>
                    <a:lnTo>
                      <a:pt x="343" y="383"/>
                    </a:lnTo>
                    <a:lnTo>
                      <a:pt x="287" y="259"/>
                    </a:lnTo>
                    <a:lnTo>
                      <a:pt x="383" y="176"/>
                    </a:lnTo>
                    <a:lnTo>
                      <a:pt x="387" y="172"/>
                    </a:lnTo>
                    <a:lnTo>
                      <a:pt x="388" y="168"/>
                    </a:lnTo>
                    <a:lnTo>
                      <a:pt x="389" y="163"/>
                    </a:lnTo>
                    <a:lnTo>
                      <a:pt x="388" y="159"/>
                    </a:lnTo>
                    <a:lnTo>
                      <a:pt x="386" y="155"/>
                    </a:lnTo>
                    <a:lnTo>
                      <a:pt x="382" y="152"/>
                    </a:lnTo>
                    <a:lnTo>
                      <a:pt x="378" y="151"/>
                    </a:lnTo>
                    <a:lnTo>
                      <a:pt x="374" y="149"/>
                    </a:lnTo>
                    <a:lnTo>
                      <a:pt x="250" y="149"/>
                    </a:lnTo>
                    <a:lnTo>
                      <a:pt x="208" y="10"/>
                    </a:lnTo>
                    <a:lnTo>
                      <a:pt x="206" y="6"/>
                    </a:lnTo>
                    <a:lnTo>
                      <a:pt x="203" y="3"/>
                    </a:lnTo>
                    <a:lnTo>
                      <a:pt x="198" y="1"/>
                    </a:lnTo>
                    <a:lnTo>
                      <a:pt x="194" y="0"/>
                    </a:lnTo>
                    <a:lnTo>
                      <a:pt x="190" y="1"/>
                    </a:lnTo>
                    <a:lnTo>
                      <a:pt x="186" y="3"/>
                    </a:lnTo>
                    <a:lnTo>
                      <a:pt x="182" y="6"/>
                    </a:lnTo>
                    <a:lnTo>
                      <a:pt x="180" y="10"/>
                    </a:lnTo>
                    <a:lnTo>
                      <a:pt x="139" y="149"/>
                    </a:lnTo>
                    <a:lnTo>
                      <a:pt x="15" y="149"/>
                    </a:lnTo>
                    <a:lnTo>
                      <a:pt x="10" y="151"/>
                    </a:lnTo>
                    <a:lnTo>
                      <a:pt x="6" y="152"/>
                    </a:lnTo>
                    <a:lnTo>
                      <a:pt x="3" y="155"/>
                    </a:lnTo>
                    <a:lnTo>
                      <a:pt x="1" y="159"/>
                    </a:lnTo>
                    <a:lnTo>
                      <a:pt x="0" y="163"/>
                    </a:lnTo>
                    <a:lnTo>
                      <a:pt x="1" y="168"/>
                    </a:lnTo>
                    <a:lnTo>
                      <a:pt x="2" y="172"/>
                    </a:lnTo>
                    <a:lnTo>
                      <a:pt x="5" y="176"/>
                    </a:lnTo>
                    <a:lnTo>
                      <a:pt x="101" y="256"/>
                    </a:lnTo>
                    <a:lnTo>
                      <a:pt x="46" y="383"/>
                    </a:lnTo>
                    <a:lnTo>
                      <a:pt x="44" y="387"/>
                    </a:lnTo>
                    <a:lnTo>
                      <a:pt x="46" y="392"/>
                    </a:lnTo>
                    <a:lnTo>
                      <a:pt x="47" y="396"/>
                    </a:lnTo>
                    <a:lnTo>
                      <a:pt x="50" y="400"/>
                    </a:lnTo>
                    <a:lnTo>
                      <a:pt x="54" y="403"/>
                    </a:lnTo>
                    <a:lnTo>
                      <a:pt x="58" y="404"/>
                    </a:lnTo>
                    <a:lnTo>
                      <a:pt x="64" y="403"/>
                    </a:lnTo>
                    <a:lnTo>
                      <a:pt x="68" y="401"/>
                    </a:lnTo>
                    <a:lnTo>
                      <a:pt x="194" y="317"/>
                    </a:lnTo>
                    <a:lnTo>
                      <a:pt x="320" y="401"/>
                    </a:lnTo>
                    <a:lnTo>
                      <a:pt x="325" y="403"/>
                    </a:lnTo>
                    <a:lnTo>
                      <a:pt x="329" y="404"/>
                    </a:lnTo>
                    <a:lnTo>
                      <a:pt x="329" y="40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1" name="Freeform 283"/>
              <p:cNvSpPr>
                <a:spLocks noEditPoints="1"/>
              </p:cNvSpPr>
              <p:nvPr/>
            </p:nvSpPr>
            <p:spPr bwMode="auto">
              <a:xfrm>
                <a:off x="7777163" y="3209925"/>
                <a:ext cx="122238" cy="128587"/>
              </a:xfrm>
              <a:custGeom>
                <a:avLst/>
                <a:gdLst>
                  <a:gd name="T0" fmla="*/ 257 w 388"/>
                  <a:gd name="T1" fmla="*/ 246 h 403"/>
                  <a:gd name="T2" fmla="*/ 255 w 388"/>
                  <a:gd name="T3" fmla="*/ 254 h 403"/>
                  <a:gd name="T4" fmla="*/ 294 w 388"/>
                  <a:gd name="T5" fmla="*/ 347 h 403"/>
                  <a:gd name="T6" fmla="*/ 199 w 388"/>
                  <a:gd name="T7" fmla="*/ 284 h 403"/>
                  <a:gd name="T8" fmla="*/ 190 w 388"/>
                  <a:gd name="T9" fmla="*/ 284 h 403"/>
                  <a:gd name="T10" fmla="*/ 94 w 388"/>
                  <a:gd name="T11" fmla="*/ 347 h 403"/>
                  <a:gd name="T12" fmla="*/ 135 w 388"/>
                  <a:gd name="T13" fmla="*/ 253 h 403"/>
                  <a:gd name="T14" fmla="*/ 133 w 388"/>
                  <a:gd name="T15" fmla="*/ 244 h 403"/>
                  <a:gd name="T16" fmla="*/ 56 w 388"/>
                  <a:gd name="T17" fmla="*/ 178 h 403"/>
                  <a:gd name="T18" fmla="*/ 154 w 388"/>
                  <a:gd name="T19" fmla="*/ 178 h 403"/>
                  <a:gd name="T20" fmla="*/ 162 w 388"/>
                  <a:gd name="T21" fmla="*/ 172 h 403"/>
                  <a:gd name="T22" fmla="*/ 195 w 388"/>
                  <a:gd name="T23" fmla="*/ 66 h 403"/>
                  <a:gd name="T24" fmla="*/ 227 w 388"/>
                  <a:gd name="T25" fmla="*/ 172 h 403"/>
                  <a:gd name="T26" fmla="*/ 234 w 388"/>
                  <a:gd name="T27" fmla="*/ 178 h 403"/>
                  <a:gd name="T28" fmla="*/ 334 w 388"/>
                  <a:gd name="T29" fmla="*/ 178 h 403"/>
                  <a:gd name="T30" fmla="*/ 388 w 388"/>
                  <a:gd name="T31" fmla="*/ 158 h 403"/>
                  <a:gd name="T32" fmla="*/ 382 w 388"/>
                  <a:gd name="T33" fmla="*/ 152 h 403"/>
                  <a:gd name="T34" fmla="*/ 373 w 388"/>
                  <a:gd name="T35" fmla="*/ 148 h 403"/>
                  <a:gd name="T36" fmla="*/ 209 w 388"/>
                  <a:gd name="T37" fmla="*/ 9 h 403"/>
                  <a:gd name="T38" fmla="*/ 203 w 388"/>
                  <a:gd name="T39" fmla="*/ 2 h 403"/>
                  <a:gd name="T40" fmla="*/ 195 w 388"/>
                  <a:gd name="T41" fmla="*/ 0 h 403"/>
                  <a:gd name="T42" fmla="*/ 185 w 388"/>
                  <a:gd name="T43" fmla="*/ 2 h 403"/>
                  <a:gd name="T44" fmla="*/ 180 w 388"/>
                  <a:gd name="T45" fmla="*/ 9 h 403"/>
                  <a:gd name="T46" fmla="*/ 15 w 388"/>
                  <a:gd name="T47" fmla="*/ 148 h 403"/>
                  <a:gd name="T48" fmla="*/ 6 w 388"/>
                  <a:gd name="T49" fmla="*/ 152 h 403"/>
                  <a:gd name="T50" fmla="*/ 1 w 388"/>
                  <a:gd name="T51" fmla="*/ 159 h 403"/>
                  <a:gd name="T52" fmla="*/ 0 w 388"/>
                  <a:gd name="T53" fmla="*/ 168 h 403"/>
                  <a:gd name="T54" fmla="*/ 5 w 388"/>
                  <a:gd name="T55" fmla="*/ 175 h 403"/>
                  <a:gd name="T56" fmla="*/ 46 w 388"/>
                  <a:gd name="T57" fmla="*/ 382 h 403"/>
                  <a:gd name="T58" fmla="*/ 45 w 388"/>
                  <a:gd name="T59" fmla="*/ 391 h 403"/>
                  <a:gd name="T60" fmla="*/ 50 w 388"/>
                  <a:gd name="T61" fmla="*/ 400 h 403"/>
                  <a:gd name="T62" fmla="*/ 59 w 388"/>
                  <a:gd name="T63" fmla="*/ 403 h 403"/>
                  <a:gd name="T64" fmla="*/ 69 w 388"/>
                  <a:gd name="T65" fmla="*/ 401 h 403"/>
                  <a:gd name="T66" fmla="*/ 321 w 388"/>
                  <a:gd name="T67" fmla="*/ 401 h 403"/>
                  <a:gd name="T68" fmla="*/ 328 w 388"/>
                  <a:gd name="T69" fmla="*/ 403 h 403"/>
                  <a:gd name="T70" fmla="*/ 338 w 388"/>
                  <a:gd name="T71" fmla="*/ 400 h 403"/>
                  <a:gd name="T72" fmla="*/ 343 w 388"/>
                  <a:gd name="T73" fmla="*/ 391 h 403"/>
                  <a:gd name="T74" fmla="*/ 342 w 388"/>
                  <a:gd name="T75" fmla="*/ 382 h 403"/>
                  <a:gd name="T76" fmla="*/ 384 w 388"/>
                  <a:gd name="T77" fmla="*/ 175 h 403"/>
                  <a:gd name="T78" fmla="*/ 388 w 388"/>
                  <a:gd name="T79" fmla="*/ 168 h 403"/>
                  <a:gd name="T80" fmla="*/ 388 w 388"/>
                  <a:gd name="T81" fmla="*/ 15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8" h="403">
                    <a:moveTo>
                      <a:pt x="260" y="243"/>
                    </a:moveTo>
                    <a:lnTo>
                      <a:pt x="257" y="246"/>
                    </a:lnTo>
                    <a:lnTo>
                      <a:pt x="256" y="250"/>
                    </a:lnTo>
                    <a:lnTo>
                      <a:pt x="255" y="254"/>
                    </a:lnTo>
                    <a:lnTo>
                      <a:pt x="256" y="260"/>
                    </a:lnTo>
                    <a:lnTo>
                      <a:pt x="294" y="347"/>
                    </a:lnTo>
                    <a:lnTo>
                      <a:pt x="202" y="286"/>
                    </a:lnTo>
                    <a:lnTo>
                      <a:pt x="199" y="284"/>
                    </a:lnTo>
                    <a:lnTo>
                      <a:pt x="195" y="283"/>
                    </a:lnTo>
                    <a:lnTo>
                      <a:pt x="190" y="284"/>
                    </a:lnTo>
                    <a:lnTo>
                      <a:pt x="186" y="286"/>
                    </a:lnTo>
                    <a:lnTo>
                      <a:pt x="94" y="347"/>
                    </a:lnTo>
                    <a:lnTo>
                      <a:pt x="134" y="258"/>
                    </a:lnTo>
                    <a:lnTo>
                      <a:pt x="135" y="253"/>
                    </a:lnTo>
                    <a:lnTo>
                      <a:pt x="134" y="248"/>
                    </a:lnTo>
                    <a:lnTo>
                      <a:pt x="133" y="244"/>
                    </a:lnTo>
                    <a:lnTo>
                      <a:pt x="129" y="240"/>
                    </a:lnTo>
                    <a:lnTo>
                      <a:pt x="56" y="178"/>
                    </a:lnTo>
                    <a:lnTo>
                      <a:pt x="150" y="178"/>
                    </a:lnTo>
                    <a:lnTo>
                      <a:pt x="154" y="178"/>
                    </a:lnTo>
                    <a:lnTo>
                      <a:pt x="158" y="176"/>
                    </a:lnTo>
                    <a:lnTo>
                      <a:pt x="162" y="172"/>
                    </a:lnTo>
                    <a:lnTo>
                      <a:pt x="164" y="168"/>
                    </a:lnTo>
                    <a:lnTo>
                      <a:pt x="195" y="66"/>
                    </a:lnTo>
                    <a:lnTo>
                      <a:pt x="225" y="168"/>
                    </a:lnTo>
                    <a:lnTo>
                      <a:pt x="227" y="172"/>
                    </a:lnTo>
                    <a:lnTo>
                      <a:pt x="230" y="176"/>
                    </a:lnTo>
                    <a:lnTo>
                      <a:pt x="234" y="178"/>
                    </a:lnTo>
                    <a:lnTo>
                      <a:pt x="240" y="178"/>
                    </a:lnTo>
                    <a:lnTo>
                      <a:pt x="334" y="178"/>
                    </a:lnTo>
                    <a:lnTo>
                      <a:pt x="260" y="243"/>
                    </a:lnTo>
                    <a:close/>
                    <a:moveTo>
                      <a:pt x="388" y="158"/>
                    </a:moveTo>
                    <a:lnTo>
                      <a:pt x="385" y="155"/>
                    </a:lnTo>
                    <a:lnTo>
                      <a:pt x="382" y="152"/>
                    </a:lnTo>
                    <a:lnTo>
                      <a:pt x="379" y="150"/>
                    </a:lnTo>
                    <a:lnTo>
                      <a:pt x="373" y="148"/>
                    </a:lnTo>
                    <a:lnTo>
                      <a:pt x="250" y="148"/>
                    </a:lnTo>
                    <a:lnTo>
                      <a:pt x="209" y="9"/>
                    </a:lnTo>
                    <a:lnTo>
                      <a:pt x="206" y="5"/>
                    </a:lnTo>
                    <a:lnTo>
                      <a:pt x="203" y="2"/>
                    </a:lnTo>
                    <a:lnTo>
                      <a:pt x="199" y="0"/>
                    </a:lnTo>
                    <a:lnTo>
                      <a:pt x="195" y="0"/>
                    </a:lnTo>
                    <a:lnTo>
                      <a:pt x="189" y="0"/>
                    </a:lnTo>
                    <a:lnTo>
                      <a:pt x="185" y="2"/>
                    </a:lnTo>
                    <a:lnTo>
                      <a:pt x="182" y="5"/>
                    </a:lnTo>
                    <a:lnTo>
                      <a:pt x="180" y="9"/>
                    </a:lnTo>
                    <a:lnTo>
                      <a:pt x="138" y="148"/>
                    </a:lnTo>
                    <a:lnTo>
                      <a:pt x="15" y="148"/>
                    </a:lnTo>
                    <a:lnTo>
                      <a:pt x="11" y="150"/>
                    </a:lnTo>
                    <a:lnTo>
                      <a:pt x="6" y="152"/>
                    </a:lnTo>
                    <a:lnTo>
                      <a:pt x="3" y="155"/>
                    </a:lnTo>
                    <a:lnTo>
                      <a:pt x="1" y="159"/>
                    </a:lnTo>
                    <a:lnTo>
                      <a:pt x="0" y="163"/>
                    </a:lnTo>
                    <a:lnTo>
                      <a:pt x="0" y="168"/>
                    </a:lnTo>
                    <a:lnTo>
                      <a:pt x="2" y="172"/>
                    </a:lnTo>
                    <a:lnTo>
                      <a:pt x="5" y="175"/>
                    </a:lnTo>
                    <a:lnTo>
                      <a:pt x="102" y="255"/>
                    </a:lnTo>
                    <a:lnTo>
                      <a:pt x="46" y="382"/>
                    </a:lnTo>
                    <a:lnTo>
                      <a:pt x="45" y="387"/>
                    </a:lnTo>
                    <a:lnTo>
                      <a:pt x="45" y="391"/>
                    </a:lnTo>
                    <a:lnTo>
                      <a:pt x="47" y="396"/>
                    </a:lnTo>
                    <a:lnTo>
                      <a:pt x="50" y="400"/>
                    </a:lnTo>
                    <a:lnTo>
                      <a:pt x="55" y="402"/>
                    </a:lnTo>
                    <a:lnTo>
                      <a:pt x="59" y="403"/>
                    </a:lnTo>
                    <a:lnTo>
                      <a:pt x="63" y="403"/>
                    </a:lnTo>
                    <a:lnTo>
                      <a:pt x="69" y="401"/>
                    </a:lnTo>
                    <a:lnTo>
                      <a:pt x="195" y="316"/>
                    </a:lnTo>
                    <a:lnTo>
                      <a:pt x="321" y="401"/>
                    </a:lnTo>
                    <a:lnTo>
                      <a:pt x="324" y="402"/>
                    </a:lnTo>
                    <a:lnTo>
                      <a:pt x="328" y="403"/>
                    </a:lnTo>
                    <a:lnTo>
                      <a:pt x="334" y="402"/>
                    </a:lnTo>
                    <a:lnTo>
                      <a:pt x="338" y="400"/>
                    </a:lnTo>
                    <a:lnTo>
                      <a:pt x="341" y="396"/>
                    </a:lnTo>
                    <a:lnTo>
                      <a:pt x="343" y="391"/>
                    </a:lnTo>
                    <a:lnTo>
                      <a:pt x="343" y="387"/>
                    </a:lnTo>
                    <a:lnTo>
                      <a:pt x="342" y="382"/>
                    </a:lnTo>
                    <a:lnTo>
                      <a:pt x="288" y="258"/>
                    </a:lnTo>
                    <a:lnTo>
                      <a:pt x="384" y="175"/>
                    </a:lnTo>
                    <a:lnTo>
                      <a:pt x="386" y="172"/>
                    </a:lnTo>
                    <a:lnTo>
                      <a:pt x="388" y="168"/>
                    </a:lnTo>
                    <a:lnTo>
                      <a:pt x="388" y="163"/>
                    </a:lnTo>
                    <a:lnTo>
                      <a:pt x="388" y="15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2" name="Freeform 284"/>
              <p:cNvSpPr>
                <a:spLocks noEditPoints="1"/>
              </p:cNvSpPr>
              <p:nvPr/>
            </p:nvSpPr>
            <p:spPr bwMode="auto">
              <a:xfrm>
                <a:off x="7615238" y="3209925"/>
                <a:ext cx="123825" cy="128587"/>
              </a:xfrm>
              <a:custGeom>
                <a:avLst/>
                <a:gdLst>
                  <a:gd name="T0" fmla="*/ 257 w 388"/>
                  <a:gd name="T1" fmla="*/ 246 h 403"/>
                  <a:gd name="T2" fmla="*/ 255 w 388"/>
                  <a:gd name="T3" fmla="*/ 254 h 403"/>
                  <a:gd name="T4" fmla="*/ 294 w 388"/>
                  <a:gd name="T5" fmla="*/ 347 h 403"/>
                  <a:gd name="T6" fmla="*/ 198 w 388"/>
                  <a:gd name="T7" fmla="*/ 284 h 403"/>
                  <a:gd name="T8" fmla="*/ 189 w 388"/>
                  <a:gd name="T9" fmla="*/ 284 h 403"/>
                  <a:gd name="T10" fmla="*/ 93 w 388"/>
                  <a:gd name="T11" fmla="*/ 347 h 403"/>
                  <a:gd name="T12" fmla="*/ 134 w 388"/>
                  <a:gd name="T13" fmla="*/ 253 h 403"/>
                  <a:gd name="T14" fmla="*/ 132 w 388"/>
                  <a:gd name="T15" fmla="*/ 244 h 403"/>
                  <a:gd name="T16" fmla="*/ 56 w 388"/>
                  <a:gd name="T17" fmla="*/ 178 h 403"/>
                  <a:gd name="T18" fmla="*/ 154 w 388"/>
                  <a:gd name="T19" fmla="*/ 178 h 403"/>
                  <a:gd name="T20" fmla="*/ 162 w 388"/>
                  <a:gd name="T21" fmla="*/ 172 h 403"/>
                  <a:gd name="T22" fmla="*/ 194 w 388"/>
                  <a:gd name="T23" fmla="*/ 66 h 403"/>
                  <a:gd name="T24" fmla="*/ 227 w 388"/>
                  <a:gd name="T25" fmla="*/ 172 h 403"/>
                  <a:gd name="T26" fmla="*/ 234 w 388"/>
                  <a:gd name="T27" fmla="*/ 178 h 403"/>
                  <a:gd name="T28" fmla="*/ 333 w 388"/>
                  <a:gd name="T29" fmla="*/ 178 h 403"/>
                  <a:gd name="T30" fmla="*/ 373 w 388"/>
                  <a:gd name="T31" fmla="*/ 148 h 403"/>
                  <a:gd name="T32" fmla="*/ 209 w 388"/>
                  <a:gd name="T33" fmla="*/ 9 h 403"/>
                  <a:gd name="T34" fmla="*/ 203 w 388"/>
                  <a:gd name="T35" fmla="*/ 2 h 403"/>
                  <a:gd name="T36" fmla="*/ 194 w 388"/>
                  <a:gd name="T37" fmla="*/ 0 h 403"/>
                  <a:gd name="T38" fmla="*/ 185 w 388"/>
                  <a:gd name="T39" fmla="*/ 2 h 403"/>
                  <a:gd name="T40" fmla="*/ 180 w 388"/>
                  <a:gd name="T41" fmla="*/ 9 h 403"/>
                  <a:gd name="T42" fmla="*/ 15 w 388"/>
                  <a:gd name="T43" fmla="*/ 148 h 403"/>
                  <a:gd name="T44" fmla="*/ 7 w 388"/>
                  <a:gd name="T45" fmla="*/ 152 h 403"/>
                  <a:gd name="T46" fmla="*/ 0 w 388"/>
                  <a:gd name="T47" fmla="*/ 159 h 403"/>
                  <a:gd name="T48" fmla="*/ 0 w 388"/>
                  <a:gd name="T49" fmla="*/ 168 h 403"/>
                  <a:gd name="T50" fmla="*/ 5 w 388"/>
                  <a:gd name="T51" fmla="*/ 175 h 403"/>
                  <a:gd name="T52" fmla="*/ 46 w 388"/>
                  <a:gd name="T53" fmla="*/ 382 h 403"/>
                  <a:gd name="T54" fmla="*/ 45 w 388"/>
                  <a:gd name="T55" fmla="*/ 391 h 403"/>
                  <a:gd name="T56" fmla="*/ 50 w 388"/>
                  <a:gd name="T57" fmla="*/ 400 h 403"/>
                  <a:gd name="T58" fmla="*/ 59 w 388"/>
                  <a:gd name="T59" fmla="*/ 403 h 403"/>
                  <a:gd name="T60" fmla="*/ 67 w 388"/>
                  <a:gd name="T61" fmla="*/ 401 h 403"/>
                  <a:gd name="T62" fmla="*/ 320 w 388"/>
                  <a:gd name="T63" fmla="*/ 401 h 403"/>
                  <a:gd name="T64" fmla="*/ 328 w 388"/>
                  <a:gd name="T65" fmla="*/ 403 h 403"/>
                  <a:gd name="T66" fmla="*/ 338 w 388"/>
                  <a:gd name="T67" fmla="*/ 400 h 403"/>
                  <a:gd name="T68" fmla="*/ 343 w 388"/>
                  <a:gd name="T69" fmla="*/ 391 h 403"/>
                  <a:gd name="T70" fmla="*/ 342 w 388"/>
                  <a:gd name="T71" fmla="*/ 382 h 403"/>
                  <a:gd name="T72" fmla="*/ 383 w 388"/>
                  <a:gd name="T73" fmla="*/ 175 h 403"/>
                  <a:gd name="T74" fmla="*/ 388 w 388"/>
                  <a:gd name="T75" fmla="*/ 168 h 403"/>
                  <a:gd name="T76" fmla="*/ 387 w 388"/>
                  <a:gd name="T77" fmla="*/ 158 h 403"/>
                  <a:gd name="T78" fmla="*/ 382 w 388"/>
                  <a:gd name="T79" fmla="*/ 152 h 403"/>
                  <a:gd name="T80" fmla="*/ 373 w 388"/>
                  <a:gd name="T81" fmla="*/ 1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8" h="403">
                    <a:moveTo>
                      <a:pt x="260" y="243"/>
                    </a:moveTo>
                    <a:lnTo>
                      <a:pt x="257" y="246"/>
                    </a:lnTo>
                    <a:lnTo>
                      <a:pt x="255" y="250"/>
                    </a:lnTo>
                    <a:lnTo>
                      <a:pt x="255" y="254"/>
                    </a:lnTo>
                    <a:lnTo>
                      <a:pt x="256" y="260"/>
                    </a:lnTo>
                    <a:lnTo>
                      <a:pt x="294" y="347"/>
                    </a:lnTo>
                    <a:lnTo>
                      <a:pt x="202" y="286"/>
                    </a:lnTo>
                    <a:lnTo>
                      <a:pt x="198" y="284"/>
                    </a:lnTo>
                    <a:lnTo>
                      <a:pt x="194" y="283"/>
                    </a:lnTo>
                    <a:lnTo>
                      <a:pt x="189" y="284"/>
                    </a:lnTo>
                    <a:lnTo>
                      <a:pt x="186" y="286"/>
                    </a:lnTo>
                    <a:lnTo>
                      <a:pt x="93" y="347"/>
                    </a:lnTo>
                    <a:lnTo>
                      <a:pt x="133" y="258"/>
                    </a:lnTo>
                    <a:lnTo>
                      <a:pt x="134" y="253"/>
                    </a:lnTo>
                    <a:lnTo>
                      <a:pt x="134" y="248"/>
                    </a:lnTo>
                    <a:lnTo>
                      <a:pt x="132" y="244"/>
                    </a:lnTo>
                    <a:lnTo>
                      <a:pt x="128" y="240"/>
                    </a:lnTo>
                    <a:lnTo>
                      <a:pt x="56" y="178"/>
                    </a:lnTo>
                    <a:lnTo>
                      <a:pt x="149" y="178"/>
                    </a:lnTo>
                    <a:lnTo>
                      <a:pt x="154" y="178"/>
                    </a:lnTo>
                    <a:lnTo>
                      <a:pt x="158" y="176"/>
                    </a:lnTo>
                    <a:lnTo>
                      <a:pt x="162" y="172"/>
                    </a:lnTo>
                    <a:lnTo>
                      <a:pt x="164" y="168"/>
                    </a:lnTo>
                    <a:lnTo>
                      <a:pt x="194" y="66"/>
                    </a:lnTo>
                    <a:lnTo>
                      <a:pt x="225" y="168"/>
                    </a:lnTo>
                    <a:lnTo>
                      <a:pt x="227" y="172"/>
                    </a:lnTo>
                    <a:lnTo>
                      <a:pt x="230" y="176"/>
                    </a:lnTo>
                    <a:lnTo>
                      <a:pt x="234" y="178"/>
                    </a:lnTo>
                    <a:lnTo>
                      <a:pt x="239" y="178"/>
                    </a:lnTo>
                    <a:lnTo>
                      <a:pt x="333" y="178"/>
                    </a:lnTo>
                    <a:lnTo>
                      <a:pt x="260" y="243"/>
                    </a:lnTo>
                    <a:close/>
                    <a:moveTo>
                      <a:pt x="373" y="148"/>
                    </a:moveTo>
                    <a:lnTo>
                      <a:pt x="250" y="148"/>
                    </a:lnTo>
                    <a:lnTo>
                      <a:pt x="209" y="9"/>
                    </a:lnTo>
                    <a:lnTo>
                      <a:pt x="207" y="5"/>
                    </a:lnTo>
                    <a:lnTo>
                      <a:pt x="203" y="2"/>
                    </a:lnTo>
                    <a:lnTo>
                      <a:pt x="199" y="0"/>
                    </a:lnTo>
                    <a:lnTo>
                      <a:pt x="194" y="0"/>
                    </a:lnTo>
                    <a:lnTo>
                      <a:pt x="189" y="0"/>
                    </a:lnTo>
                    <a:lnTo>
                      <a:pt x="185" y="2"/>
                    </a:lnTo>
                    <a:lnTo>
                      <a:pt x="182" y="5"/>
                    </a:lnTo>
                    <a:lnTo>
                      <a:pt x="180" y="9"/>
                    </a:lnTo>
                    <a:lnTo>
                      <a:pt x="138" y="148"/>
                    </a:lnTo>
                    <a:lnTo>
                      <a:pt x="15" y="148"/>
                    </a:lnTo>
                    <a:lnTo>
                      <a:pt x="10" y="150"/>
                    </a:lnTo>
                    <a:lnTo>
                      <a:pt x="7" y="152"/>
                    </a:lnTo>
                    <a:lnTo>
                      <a:pt x="3" y="155"/>
                    </a:lnTo>
                    <a:lnTo>
                      <a:pt x="0" y="159"/>
                    </a:lnTo>
                    <a:lnTo>
                      <a:pt x="0" y="163"/>
                    </a:lnTo>
                    <a:lnTo>
                      <a:pt x="0" y="168"/>
                    </a:lnTo>
                    <a:lnTo>
                      <a:pt x="2" y="172"/>
                    </a:lnTo>
                    <a:lnTo>
                      <a:pt x="5" y="175"/>
                    </a:lnTo>
                    <a:lnTo>
                      <a:pt x="101" y="255"/>
                    </a:lnTo>
                    <a:lnTo>
                      <a:pt x="46" y="382"/>
                    </a:lnTo>
                    <a:lnTo>
                      <a:pt x="45" y="387"/>
                    </a:lnTo>
                    <a:lnTo>
                      <a:pt x="45" y="391"/>
                    </a:lnTo>
                    <a:lnTo>
                      <a:pt x="47" y="396"/>
                    </a:lnTo>
                    <a:lnTo>
                      <a:pt x="50" y="400"/>
                    </a:lnTo>
                    <a:lnTo>
                      <a:pt x="54" y="402"/>
                    </a:lnTo>
                    <a:lnTo>
                      <a:pt x="59" y="403"/>
                    </a:lnTo>
                    <a:lnTo>
                      <a:pt x="63" y="403"/>
                    </a:lnTo>
                    <a:lnTo>
                      <a:pt x="67" y="401"/>
                    </a:lnTo>
                    <a:lnTo>
                      <a:pt x="194" y="316"/>
                    </a:lnTo>
                    <a:lnTo>
                      <a:pt x="320" y="401"/>
                    </a:lnTo>
                    <a:lnTo>
                      <a:pt x="324" y="402"/>
                    </a:lnTo>
                    <a:lnTo>
                      <a:pt x="328" y="403"/>
                    </a:lnTo>
                    <a:lnTo>
                      <a:pt x="334" y="402"/>
                    </a:lnTo>
                    <a:lnTo>
                      <a:pt x="338" y="400"/>
                    </a:lnTo>
                    <a:lnTo>
                      <a:pt x="341" y="396"/>
                    </a:lnTo>
                    <a:lnTo>
                      <a:pt x="343" y="391"/>
                    </a:lnTo>
                    <a:lnTo>
                      <a:pt x="343" y="387"/>
                    </a:lnTo>
                    <a:lnTo>
                      <a:pt x="342" y="382"/>
                    </a:lnTo>
                    <a:lnTo>
                      <a:pt x="288" y="258"/>
                    </a:lnTo>
                    <a:lnTo>
                      <a:pt x="383" y="175"/>
                    </a:lnTo>
                    <a:lnTo>
                      <a:pt x="386" y="172"/>
                    </a:lnTo>
                    <a:lnTo>
                      <a:pt x="388" y="168"/>
                    </a:lnTo>
                    <a:lnTo>
                      <a:pt x="388" y="163"/>
                    </a:lnTo>
                    <a:lnTo>
                      <a:pt x="387" y="158"/>
                    </a:lnTo>
                    <a:lnTo>
                      <a:pt x="385" y="155"/>
                    </a:lnTo>
                    <a:lnTo>
                      <a:pt x="382" y="152"/>
                    </a:lnTo>
                    <a:lnTo>
                      <a:pt x="378" y="150"/>
                    </a:lnTo>
                    <a:lnTo>
                      <a:pt x="373" y="1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grpSp>
      </p:grpSp>
      <p:grpSp>
        <p:nvGrpSpPr>
          <p:cNvPr id="23" name="组合 22"/>
          <p:cNvGrpSpPr/>
          <p:nvPr/>
        </p:nvGrpSpPr>
        <p:grpSpPr>
          <a:xfrm>
            <a:off x="6998416" y="2843970"/>
            <a:ext cx="805941" cy="1049320"/>
            <a:chOff x="7398319" y="2667698"/>
            <a:chExt cx="1326129" cy="1726594"/>
          </a:xfrm>
        </p:grpSpPr>
        <p:sp>
          <p:nvSpPr>
            <p:cNvPr id="24" name="Oval 24"/>
            <p:cNvSpPr/>
            <p:nvPr/>
          </p:nvSpPr>
          <p:spPr>
            <a:xfrm>
              <a:off x="7584089" y="4158447"/>
              <a:ext cx="935537" cy="235845"/>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25" name="Teardrop 26"/>
            <p:cNvSpPr/>
            <p:nvPr/>
          </p:nvSpPr>
          <p:spPr>
            <a:xfrm rot="8100000">
              <a:off x="7398319" y="2667698"/>
              <a:ext cx="1326129" cy="1326127"/>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sp>
          <p:nvSpPr>
            <p:cNvPr id="26" name="Oval 27"/>
            <p:cNvSpPr/>
            <p:nvPr/>
          </p:nvSpPr>
          <p:spPr>
            <a:xfrm>
              <a:off x="7628610" y="2897988"/>
              <a:ext cx="865547" cy="8655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27" name="Group 52"/>
            <p:cNvGrpSpPr/>
            <p:nvPr/>
          </p:nvGrpSpPr>
          <p:grpSpPr>
            <a:xfrm>
              <a:off x="7921041" y="3148013"/>
              <a:ext cx="280686" cy="365496"/>
              <a:chOff x="11066463" y="1360488"/>
              <a:chExt cx="220663" cy="287338"/>
            </a:xfrm>
            <a:solidFill>
              <a:schemeClr val="accent1"/>
            </a:solidFill>
          </p:grpSpPr>
          <p:sp>
            <p:nvSpPr>
              <p:cNvPr id="28" name="Freeform 180"/>
              <p:cNvSpPr>
                <a:spLocks noEditPoints="1"/>
              </p:cNvSpPr>
              <p:nvPr/>
            </p:nvSpPr>
            <p:spPr bwMode="auto">
              <a:xfrm>
                <a:off x="11066463" y="1360488"/>
                <a:ext cx="220663" cy="287338"/>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9" name="Freeform 181"/>
              <p:cNvSpPr/>
              <p:nvPr/>
            </p:nvSpPr>
            <p:spPr bwMode="auto">
              <a:xfrm>
                <a:off x="11180763" y="1474788"/>
                <a:ext cx="57150" cy="9525"/>
              </a:xfrm>
              <a:custGeom>
                <a:avLst/>
                <a:gdLst>
                  <a:gd name="T0" fmla="*/ 167 w 182"/>
                  <a:gd name="T1" fmla="*/ 0 h 31"/>
                  <a:gd name="T2" fmla="*/ 15 w 182"/>
                  <a:gd name="T3" fmla="*/ 0 h 31"/>
                  <a:gd name="T4" fmla="*/ 13 w 182"/>
                  <a:gd name="T5" fmla="*/ 1 h 31"/>
                  <a:gd name="T6" fmla="*/ 10 w 182"/>
                  <a:gd name="T7" fmla="*/ 2 h 31"/>
                  <a:gd name="T8" fmla="*/ 8 w 182"/>
                  <a:gd name="T9" fmla="*/ 3 h 31"/>
                  <a:gd name="T10" fmla="*/ 5 w 182"/>
                  <a:gd name="T11" fmla="*/ 6 h 31"/>
                  <a:gd name="T12" fmla="*/ 4 w 182"/>
                  <a:gd name="T13" fmla="*/ 8 h 31"/>
                  <a:gd name="T14" fmla="*/ 1 w 182"/>
                  <a:gd name="T15" fmla="*/ 10 h 31"/>
                  <a:gd name="T16" fmla="*/ 1 w 182"/>
                  <a:gd name="T17" fmla="*/ 13 h 31"/>
                  <a:gd name="T18" fmla="*/ 0 w 182"/>
                  <a:gd name="T19" fmla="*/ 15 h 31"/>
                  <a:gd name="T20" fmla="*/ 1 w 182"/>
                  <a:gd name="T21" fmla="*/ 20 h 31"/>
                  <a:gd name="T22" fmla="*/ 1 w 182"/>
                  <a:gd name="T23" fmla="*/ 22 h 31"/>
                  <a:gd name="T24" fmla="*/ 4 w 182"/>
                  <a:gd name="T25" fmla="*/ 25 h 31"/>
                  <a:gd name="T26" fmla="*/ 5 w 182"/>
                  <a:gd name="T27" fmla="*/ 27 h 31"/>
                  <a:gd name="T28" fmla="*/ 8 w 182"/>
                  <a:gd name="T29" fmla="*/ 28 h 31"/>
                  <a:gd name="T30" fmla="*/ 10 w 182"/>
                  <a:gd name="T31" fmla="*/ 30 h 31"/>
                  <a:gd name="T32" fmla="*/ 13 w 182"/>
                  <a:gd name="T33" fmla="*/ 30 h 31"/>
                  <a:gd name="T34" fmla="*/ 15 w 182"/>
                  <a:gd name="T35" fmla="*/ 31 h 31"/>
                  <a:gd name="T36" fmla="*/ 167 w 182"/>
                  <a:gd name="T37" fmla="*/ 31 h 31"/>
                  <a:gd name="T38" fmla="*/ 171 w 182"/>
                  <a:gd name="T39" fmla="*/ 30 h 31"/>
                  <a:gd name="T40" fmla="*/ 173 w 182"/>
                  <a:gd name="T41" fmla="*/ 30 h 31"/>
                  <a:gd name="T42" fmla="*/ 176 w 182"/>
                  <a:gd name="T43" fmla="*/ 28 h 31"/>
                  <a:gd name="T44" fmla="*/ 178 w 182"/>
                  <a:gd name="T45" fmla="*/ 27 h 31"/>
                  <a:gd name="T46" fmla="*/ 180 w 182"/>
                  <a:gd name="T47" fmla="*/ 25 h 31"/>
                  <a:gd name="T48" fmla="*/ 181 w 182"/>
                  <a:gd name="T49" fmla="*/ 22 h 31"/>
                  <a:gd name="T50" fmla="*/ 182 w 182"/>
                  <a:gd name="T51" fmla="*/ 20 h 31"/>
                  <a:gd name="T52" fmla="*/ 182 w 182"/>
                  <a:gd name="T53" fmla="*/ 15 h 31"/>
                  <a:gd name="T54" fmla="*/ 182 w 182"/>
                  <a:gd name="T55" fmla="*/ 13 h 31"/>
                  <a:gd name="T56" fmla="*/ 181 w 182"/>
                  <a:gd name="T57" fmla="*/ 10 h 31"/>
                  <a:gd name="T58" fmla="*/ 180 w 182"/>
                  <a:gd name="T59" fmla="*/ 8 h 31"/>
                  <a:gd name="T60" fmla="*/ 178 w 182"/>
                  <a:gd name="T61" fmla="*/ 6 h 31"/>
                  <a:gd name="T62" fmla="*/ 176 w 182"/>
                  <a:gd name="T63" fmla="*/ 3 h 31"/>
                  <a:gd name="T64" fmla="*/ 173 w 182"/>
                  <a:gd name="T65" fmla="*/ 2 h 31"/>
                  <a:gd name="T66" fmla="*/ 171 w 182"/>
                  <a:gd name="T67" fmla="*/ 1 h 31"/>
                  <a:gd name="T68" fmla="*/ 167 w 182"/>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1">
                    <a:moveTo>
                      <a:pt x="167" y="0"/>
                    </a:moveTo>
                    <a:lnTo>
                      <a:pt x="15" y="0"/>
                    </a:lnTo>
                    <a:lnTo>
                      <a:pt x="13" y="1"/>
                    </a:lnTo>
                    <a:lnTo>
                      <a:pt x="10" y="2"/>
                    </a:lnTo>
                    <a:lnTo>
                      <a:pt x="8" y="3"/>
                    </a:lnTo>
                    <a:lnTo>
                      <a:pt x="5" y="6"/>
                    </a:lnTo>
                    <a:lnTo>
                      <a:pt x="4" y="8"/>
                    </a:lnTo>
                    <a:lnTo>
                      <a:pt x="1" y="10"/>
                    </a:lnTo>
                    <a:lnTo>
                      <a:pt x="1" y="13"/>
                    </a:lnTo>
                    <a:lnTo>
                      <a:pt x="0" y="15"/>
                    </a:lnTo>
                    <a:lnTo>
                      <a:pt x="1" y="20"/>
                    </a:lnTo>
                    <a:lnTo>
                      <a:pt x="1" y="22"/>
                    </a:lnTo>
                    <a:lnTo>
                      <a:pt x="4" y="25"/>
                    </a:lnTo>
                    <a:lnTo>
                      <a:pt x="5" y="27"/>
                    </a:lnTo>
                    <a:lnTo>
                      <a:pt x="8" y="28"/>
                    </a:lnTo>
                    <a:lnTo>
                      <a:pt x="10" y="30"/>
                    </a:lnTo>
                    <a:lnTo>
                      <a:pt x="13" y="30"/>
                    </a:lnTo>
                    <a:lnTo>
                      <a:pt x="15" y="31"/>
                    </a:lnTo>
                    <a:lnTo>
                      <a:pt x="167" y="31"/>
                    </a:lnTo>
                    <a:lnTo>
                      <a:pt x="171" y="30"/>
                    </a:lnTo>
                    <a:lnTo>
                      <a:pt x="173" y="30"/>
                    </a:lnTo>
                    <a:lnTo>
                      <a:pt x="176" y="28"/>
                    </a:lnTo>
                    <a:lnTo>
                      <a:pt x="178" y="27"/>
                    </a:lnTo>
                    <a:lnTo>
                      <a:pt x="180" y="25"/>
                    </a:lnTo>
                    <a:lnTo>
                      <a:pt x="181" y="22"/>
                    </a:lnTo>
                    <a:lnTo>
                      <a:pt x="182" y="20"/>
                    </a:lnTo>
                    <a:lnTo>
                      <a:pt x="182" y="15"/>
                    </a:lnTo>
                    <a:lnTo>
                      <a:pt x="182" y="13"/>
                    </a:lnTo>
                    <a:lnTo>
                      <a:pt x="181" y="10"/>
                    </a:lnTo>
                    <a:lnTo>
                      <a:pt x="180" y="8"/>
                    </a:lnTo>
                    <a:lnTo>
                      <a:pt x="178" y="6"/>
                    </a:lnTo>
                    <a:lnTo>
                      <a:pt x="176" y="3"/>
                    </a:lnTo>
                    <a:lnTo>
                      <a:pt x="173" y="2"/>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30" name="Freeform 182"/>
              <p:cNvSpPr/>
              <p:nvPr/>
            </p:nvSpPr>
            <p:spPr bwMode="auto">
              <a:xfrm>
                <a:off x="11180763" y="1522413"/>
                <a:ext cx="57150" cy="9525"/>
              </a:xfrm>
              <a:custGeom>
                <a:avLst/>
                <a:gdLst>
                  <a:gd name="T0" fmla="*/ 167 w 182"/>
                  <a:gd name="T1" fmla="*/ 0 h 30"/>
                  <a:gd name="T2" fmla="*/ 15 w 182"/>
                  <a:gd name="T3" fmla="*/ 0 h 30"/>
                  <a:gd name="T4" fmla="*/ 13 w 182"/>
                  <a:gd name="T5" fmla="*/ 0 h 30"/>
                  <a:gd name="T6" fmla="*/ 10 w 182"/>
                  <a:gd name="T7" fmla="*/ 1 h 30"/>
                  <a:gd name="T8" fmla="*/ 8 w 182"/>
                  <a:gd name="T9" fmla="*/ 2 h 30"/>
                  <a:gd name="T10" fmla="*/ 5 w 182"/>
                  <a:gd name="T11" fmla="*/ 4 h 30"/>
                  <a:gd name="T12" fmla="*/ 4 w 182"/>
                  <a:gd name="T13" fmla="*/ 7 h 30"/>
                  <a:gd name="T14" fmla="*/ 1 w 182"/>
                  <a:gd name="T15" fmla="*/ 10 h 30"/>
                  <a:gd name="T16" fmla="*/ 1 w 182"/>
                  <a:gd name="T17" fmla="*/ 12 h 30"/>
                  <a:gd name="T18" fmla="*/ 0 w 182"/>
                  <a:gd name="T19" fmla="*/ 15 h 30"/>
                  <a:gd name="T20" fmla="*/ 1 w 182"/>
                  <a:gd name="T21" fmla="*/ 18 h 30"/>
                  <a:gd name="T22" fmla="*/ 1 w 182"/>
                  <a:gd name="T23" fmla="*/ 22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2 h 30"/>
                  <a:gd name="T50" fmla="*/ 182 w 182"/>
                  <a:gd name="T51" fmla="*/ 18 h 30"/>
                  <a:gd name="T52" fmla="*/ 182 w 182"/>
                  <a:gd name="T53" fmla="*/ 15 h 30"/>
                  <a:gd name="T54" fmla="*/ 182 w 182"/>
                  <a:gd name="T55" fmla="*/ 12 h 30"/>
                  <a:gd name="T56" fmla="*/ 181 w 182"/>
                  <a:gd name="T57" fmla="*/ 10 h 30"/>
                  <a:gd name="T58" fmla="*/ 180 w 182"/>
                  <a:gd name="T59" fmla="*/ 7 h 30"/>
                  <a:gd name="T60" fmla="*/ 178 w 182"/>
                  <a:gd name="T61" fmla="*/ 4 h 30"/>
                  <a:gd name="T62" fmla="*/ 176 w 182"/>
                  <a:gd name="T63" fmla="*/ 2 h 30"/>
                  <a:gd name="T64" fmla="*/ 173 w 182"/>
                  <a:gd name="T65" fmla="*/ 1 h 30"/>
                  <a:gd name="T66" fmla="*/ 171 w 182"/>
                  <a:gd name="T67" fmla="*/ 0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0"/>
                    </a:lnTo>
                    <a:lnTo>
                      <a:pt x="10" y="1"/>
                    </a:lnTo>
                    <a:lnTo>
                      <a:pt x="8" y="2"/>
                    </a:lnTo>
                    <a:lnTo>
                      <a:pt x="5" y="4"/>
                    </a:lnTo>
                    <a:lnTo>
                      <a:pt x="4" y="7"/>
                    </a:lnTo>
                    <a:lnTo>
                      <a:pt x="1" y="10"/>
                    </a:lnTo>
                    <a:lnTo>
                      <a:pt x="1" y="12"/>
                    </a:lnTo>
                    <a:lnTo>
                      <a:pt x="0" y="15"/>
                    </a:lnTo>
                    <a:lnTo>
                      <a:pt x="1" y="18"/>
                    </a:lnTo>
                    <a:lnTo>
                      <a:pt x="1" y="22"/>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2"/>
                    </a:lnTo>
                    <a:lnTo>
                      <a:pt x="182" y="18"/>
                    </a:lnTo>
                    <a:lnTo>
                      <a:pt x="182" y="15"/>
                    </a:lnTo>
                    <a:lnTo>
                      <a:pt x="182" y="12"/>
                    </a:lnTo>
                    <a:lnTo>
                      <a:pt x="181" y="10"/>
                    </a:lnTo>
                    <a:lnTo>
                      <a:pt x="180" y="7"/>
                    </a:lnTo>
                    <a:lnTo>
                      <a:pt x="178" y="4"/>
                    </a:lnTo>
                    <a:lnTo>
                      <a:pt x="176" y="2"/>
                    </a:lnTo>
                    <a:lnTo>
                      <a:pt x="173" y="1"/>
                    </a:lnTo>
                    <a:lnTo>
                      <a:pt x="171" y="0"/>
                    </a:lnTo>
                    <a:lnTo>
                      <a:pt x="16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31" name="Freeform 183"/>
              <p:cNvSpPr/>
              <p:nvPr/>
            </p:nvSpPr>
            <p:spPr bwMode="auto">
              <a:xfrm>
                <a:off x="11180763" y="1579563"/>
                <a:ext cx="57150" cy="9525"/>
              </a:xfrm>
              <a:custGeom>
                <a:avLst/>
                <a:gdLst>
                  <a:gd name="T0" fmla="*/ 167 w 182"/>
                  <a:gd name="T1" fmla="*/ 0 h 30"/>
                  <a:gd name="T2" fmla="*/ 15 w 182"/>
                  <a:gd name="T3" fmla="*/ 0 h 30"/>
                  <a:gd name="T4" fmla="*/ 13 w 182"/>
                  <a:gd name="T5" fmla="*/ 1 h 30"/>
                  <a:gd name="T6" fmla="*/ 10 w 182"/>
                  <a:gd name="T7" fmla="*/ 1 h 30"/>
                  <a:gd name="T8" fmla="*/ 8 w 182"/>
                  <a:gd name="T9" fmla="*/ 3 h 30"/>
                  <a:gd name="T10" fmla="*/ 5 w 182"/>
                  <a:gd name="T11" fmla="*/ 5 h 30"/>
                  <a:gd name="T12" fmla="*/ 4 w 182"/>
                  <a:gd name="T13" fmla="*/ 7 h 30"/>
                  <a:gd name="T14" fmla="*/ 1 w 182"/>
                  <a:gd name="T15" fmla="*/ 10 h 30"/>
                  <a:gd name="T16" fmla="*/ 1 w 182"/>
                  <a:gd name="T17" fmla="*/ 13 h 30"/>
                  <a:gd name="T18" fmla="*/ 0 w 182"/>
                  <a:gd name="T19" fmla="*/ 15 h 30"/>
                  <a:gd name="T20" fmla="*/ 1 w 182"/>
                  <a:gd name="T21" fmla="*/ 18 h 30"/>
                  <a:gd name="T22" fmla="*/ 1 w 182"/>
                  <a:gd name="T23" fmla="*/ 21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1 h 30"/>
                  <a:gd name="T50" fmla="*/ 182 w 182"/>
                  <a:gd name="T51" fmla="*/ 18 h 30"/>
                  <a:gd name="T52" fmla="*/ 182 w 182"/>
                  <a:gd name="T53" fmla="*/ 15 h 30"/>
                  <a:gd name="T54" fmla="*/ 182 w 182"/>
                  <a:gd name="T55" fmla="*/ 13 h 30"/>
                  <a:gd name="T56" fmla="*/ 181 w 182"/>
                  <a:gd name="T57" fmla="*/ 10 h 30"/>
                  <a:gd name="T58" fmla="*/ 180 w 182"/>
                  <a:gd name="T59" fmla="*/ 7 h 30"/>
                  <a:gd name="T60" fmla="*/ 178 w 182"/>
                  <a:gd name="T61" fmla="*/ 5 h 30"/>
                  <a:gd name="T62" fmla="*/ 176 w 182"/>
                  <a:gd name="T63" fmla="*/ 3 h 30"/>
                  <a:gd name="T64" fmla="*/ 173 w 182"/>
                  <a:gd name="T65" fmla="*/ 1 h 30"/>
                  <a:gd name="T66" fmla="*/ 171 w 182"/>
                  <a:gd name="T67" fmla="*/ 1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1"/>
                    </a:lnTo>
                    <a:lnTo>
                      <a:pt x="10" y="1"/>
                    </a:lnTo>
                    <a:lnTo>
                      <a:pt x="8" y="3"/>
                    </a:lnTo>
                    <a:lnTo>
                      <a:pt x="5" y="5"/>
                    </a:lnTo>
                    <a:lnTo>
                      <a:pt x="4" y="7"/>
                    </a:lnTo>
                    <a:lnTo>
                      <a:pt x="1" y="10"/>
                    </a:lnTo>
                    <a:lnTo>
                      <a:pt x="1" y="13"/>
                    </a:lnTo>
                    <a:lnTo>
                      <a:pt x="0" y="15"/>
                    </a:lnTo>
                    <a:lnTo>
                      <a:pt x="1" y="18"/>
                    </a:lnTo>
                    <a:lnTo>
                      <a:pt x="1" y="21"/>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1"/>
                    </a:lnTo>
                    <a:lnTo>
                      <a:pt x="182" y="18"/>
                    </a:lnTo>
                    <a:lnTo>
                      <a:pt x="182" y="15"/>
                    </a:lnTo>
                    <a:lnTo>
                      <a:pt x="182" y="13"/>
                    </a:lnTo>
                    <a:lnTo>
                      <a:pt x="181" y="10"/>
                    </a:lnTo>
                    <a:lnTo>
                      <a:pt x="180" y="7"/>
                    </a:lnTo>
                    <a:lnTo>
                      <a:pt x="178" y="5"/>
                    </a:lnTo>
                    <a:lnTo>
                      <a:pt x="176" y="3"/>
                    </a:lnTo>
                    <a:lnTo>
                      <a:pt x="173" y="1"/>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32" name="Freeform 184"/>
              <p:cNvSpPr/>
              <p:nvPr/>
            </p:nvSpPr>
            <p:spPr bwMode="auto">
              <a:xfrm>
                <a:off x="11109325" y="1450976"/>
                <a:ext cx="57150" cy="39688"/>
              </a:xfrm>
              <a:custGeom>
                <a:avLst/>
                <a:gdLst>
                  <a:gd name="T0" fmla="*/ 156 w 181"/>
                  <a:gd name="T1" fmla="*/ 4 h 126"/>
                  <a:gd name="T2" fmla="*/ 71 w 181"/>
                  <a:gd name="T3" fmla="*/ 88 h 126"/>
                  <a:gd name="T4" fmla="*/ 25 w 181"/>
                  <a:gd name="T5" fmla="*/ 43 h 126"/>
                  <a:gd name="T6" fmla="*/ 23 w 181"/>
                  <a:gd name="T7" fmla="*/ 41 h 126"/>
                  <a:gd name="T8" fmla="*/ 20 w 181"/>
                  <a:gd name="T9" fmla="*/ 39 h 126"/>
                  <a:gd name="T10" fmla="*/ 18 w 181"/>
                  <a:gd name="T11" fmla="*/ 39 h 126"/>
                  <a:gd name="T12" fmla="*/ 15 w 181"/>
                  <a:gd name="T13" fmla="*/ 38 h 126"/>
                  <a:gd name="T14" fmla="*/ 11 w 181"/>
                  <a:gd name="T15" fmla="*/ 39 h 126"/>
                  <a:gd name="T16" fmla="*/ 9 w 181"/>
                  <a:gd name="T17" fmla="*/ 39 h 126"/>
                  <a:gd name="T18" fmla="*/ 6 w 181"/>
                  <a:gd name="T19" fmla="*/ 41 h 126"/>
                  <a:gd name="T20" fmla="*/ 4 w 181"/>
                  <a:gd name="T21" fmla="*/ 43 h 126"/>
                  <a:gd name="T22" fmla="*/ 2 w 181"/>
                  <a:gd name="T23" fmla="*/ 45 h 126"/>
                  <a:gd name="T24" fmla="*/ 1 w 181"/>
                  <a:gd name="T25" fmla="*/ 47 h 126"/>
                  <a:gd name="T26" fmla="*/ 0 w 181"/>
                  <a:gd name="T27" fmla="*/ 51 h 126"/>
                  <a:gd name="T28" fmla="*/ 0 w 181"/>
                  <a:gd name="T29" fmla="*/ 53 h 126"/>
                  <a:gd name="T30" fmla="*/ 0 w 181"/>
                  <a:gd name="T31" fmla="*/ 56 h 126"/>
                  <a:gd name="T32" fmla="*/ 1 w 181"/>
                  <a:gd name="T33" fmla="*/ 59 h 126"/>
                  <a:gd name="T34" fmla="*/ 2 w 181"/>
                  <a:gd name="T35" fmla="*/ 61 h 126"/>
                  <a:gd name="T36" fmla="*/ 4 w 181"/>
                  <a:gd name="T37" fmla="*/ 63 h 126"/>
                  <a:gd name="T38" fmla="*/ 61 w 181"/>
                  <a:gd name="T39" fmla="*/ 121 h 126"/>
                  <a:gd name="T40" fmla="*/ 63 w 181"/>
                  <a:gd name="T41" fmla="*/ 122 h 126"/>
                  <a:gd name="T42" fmla="*/ 66 w 181"/>
                  <a:gd name="T43" fmla="*/ 124 h 126"/>
                  <a:gd name="T44" fmla="*/ 68 w 181"/>
                  <a:gd name="T45" fmla="*/ 126 h 126"/>
                  <a:gd name="T46" fmla="*/ 71 w 181"/>
                  <a:gd name="T47" fmla="*/ 126 h 126"/>
                  <a:gd name="T48" fmla="*/ 74 w 181"/>
                  <a:gd name="T49" fmla="*/ 126 h 126"/>
                  <a:gd name="T50" fmla="*/ 77 w 181"/>
                  <a:gd name="T51" fmla="*/ 124 h 126"/>
                  <a:gd name="T52" fmla="*/ 80 w 181"/>
                  <a:gd name="T53" fmla="*/ 122 h 126"/>
                  <a:gd name="T54" fmla="*/ 82 w 181"/>
                  <a:gd name="T55" fmla="*/ 121 h 126"/>
                  <a:gd name="T56" fmla="*/ 176 w 181"/>
                  <a:gd name="T57" fmla="*/ 26 h 126"/>
                  <a:gd name="T58" fmla="*/ 178 w 181"/>
                  <a:gd name="T59" fmla="*/ 24 h 126"/>
                  <a:gd name="T60" fmla="*/ 180 w 181"/>
                  <a:gd name="T61" fmla="*/ 21 h 126"/>
                  <a:gd name="T62" fmla="*/ 180 w 181"/>
                  <a:gd name="T63" fmla="*/ 17 h 126"/>
                  <a:gd name="T64" fmla="*/ 181 w 181"/>
                  <a:gd name="T65" fmla="*/ 15 h 126"/>
                  <a:gd name="T66" fmla="*/ 180 w 181"/>
                  <a:gd name="T67" fmla="*/ 12 h 126"/>
                  <a:gd name="T68" fmla="*/ 180 w 181"/>
                  <a:gd name="T69" fmla="*/ 9 h 126"/>
                  <a:gd name="T70" fmla="*/ 178 w 181"/>
                  <a:gd name="T71" fmla="*/ 6 h 126"/>
                  <a:gd name="T72" fmla="*/ 176 w 181"/>
                  <a:gd name="T73" fmla="*/ 4 h 126"/>
                  <a:gd name="T74" fmla="*/ 172 w 181"/>
                  <a:gd name="T75" fmla="*/ 1 h 126"/>
                  <a:gd name="T76" fmla="*/ 166 w 181"/>
                  <a:gd name="T77" fmla="*/ 0 h 126"/>
                  <a:gd name="T78" fmla="*/ 160 w 181"/>
                  <a:gd name="T79" fmla="*/ 1 h 126"/>
                  <a:gd name="T80" fmla="*/ 156 w 181"/>
                  <a:gd name="T81" fmla="*/ 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56" y="4"/>
                    </a:moveTo>
                    <a:lnTo>
                      <a:pt x="71" y="88"/>
                    </a:lnTo>
                    <a:lnTo>
                      <a:pt x="25" y="43"/>
                    </a:lnTo>
                    <a:lnTo>
                      <a:pt x="23" y="41"/>
                    </a:lnTo>
                    <a:lnTo>
                      <a:pt x="20" y="39"/>
                    </a:lnTo>
                    <a:lnTo>
                      <a:pt x="18" y="39"/>
                    </a:lnTo>
                    <a:lnTo>
                      <a:pt x="15" y="38"/>
                    </a:lnTo>
                    <a:lnTo>
                      <a:pt x="11" y="39"/>
                    </a:lnTo>
                    <a:lnTo>
                      <a:pt x="9" y="39"/>
                    </a:lnTo>
                    <a:lnTo>
                      <a:pt x="6" y="41"/>
                    </a:lnTo>
                    <a:lnTo>
                      <a:pt x="4" y="43"/>
                    </a:lnTo>
                    <a:lnTo>
                      <a:pt x="2" y="45"/>
                    </a:lnTo>
                    <a:lnTo>
                      <a:pt x="1" y="47"/>
                    </a:lnTo>
                    <a:lnTo>
                      <a:pt x="0" y="51"/>
                    </a:lnTo>
                    <a:lnTo>
                      <a:pt x="0" y="53"/>
                    </a:lnTo>
                    <a:lnTo>
                      <a:pt x="0" y="56"/>
                    </a:lnTo>
                    <a:lnTo>
                      <a:pt x="1" y="59"/>
                    </a:lnTo>
                    <a:lnTo>
                      <a:pt x="2" y="61"/>
                    </a:lnTo>
                    <a:lnTo>
                      <a:pt x="4" y="63"/>
                    </a:lnTo>
                    <a:lnTo>
                      <a:pt x="61" y="121"/>
                    </a:lnTo>
                    <a:lnTo>
                      <a:pt x="63" y="122"/>
                    </a:lnTo>
                    <a:lnTo>
                      <a:pt x="66" y="124"/>
                    </a:lnTo>
                    <a:lnTo>
                      <a:pt x="68" y="126"/>
                    </a:lnTo>
                    <a:lnTo>
                      <a:pt x="71" y="126"/>
                    </a:lnTo>
                    <a:lnTo>
                      <a:pt x="74" y="126"/>
                    </a:lnTo>
                    <a:lnTo>
                      <a:pt x="77" y="124"/>
                    </a:lnTo>
                    <a:lnTo>
                      <a:pt x="80" y="122"/>
                    </a:lnTo>
                    <a:lnTo>
                      <a:pt x="82" y="121"/>
                    </a:lnTo>
                    <a:lnTo>
                      <a:pt x="176" y="26"/>
                    </a:lnTo>
                    <a:lnTo>
                      <a:pt x="178" y="24"/>
                    </a:lnTo>
                    <a:lnTo>
                      <a:pt x="180" y="21"/>
                    </a:lnTo>
                    <a:lnTo>
                      <a:pt x="180" y="17"/>
                    </a:lnTo>
                    <a:lnTo>
                      <a:pt x="181" y="15"/>
                    </a:lnTo>
                    <a:lnTo>
                      <a:pt x="180" y="12"/>
                    </a:lnTo>
                    <a:lnTo>
                      <a:pt x="180" y="9"/>
                    </a:lnTo>
                    <a:lnTo>
                      <a:pt x="178" y="6"/>
                    </a:lnTo>
                    <a:lnTo>
                      <a:pt x="176" y="4"/>
                    </a:lnTo>
                    <a:lnTo>
                      <a:pt x="172" y="1"/>
                    </a:lnTo>
                    <a:lnTo>
                      <a:pt x="166" y="0"/>
                    </a:lnTo>
                    <a:lnTo>
                      <a:pt x="160" y="1"/>
                    </a:lnTo>
                    <a:lnTo>
                      <a:pt x="156"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33" name="Freeform 185"/>
              <p:cNvSpPr/>
              <p:nvPr/>
            </p:nvSpPr>
            <p:spPr bwMode="auto">
              <a:xfrm>
                <a:off x="11109325" y="1504951"/>
                <a:ext cx="57150" cy="39688"/>
              </a:xfrm>
              <a:custGeom>
                <a:avLst/>
                <a:gdLst>
                  <a:gd name="T0" fmla="*/ 156 w 181"/>
                  <a:gd name="T1" fmla="*/ 4 h 124"/>
                  <a:gd name="T2" fmla="*/ 71 w 181"/>
                  <a:gd name="T3" fmla="*/ 88 h 124"/>
                  <a:gd name="T4" fmla="*/ 25 w 181"/>
                  <a:gd name="T5" fmla="*/ 41 h 124"/>
                  <a:gd name="T6" fmla="*/ 23 w 181"/>
                  <a:gd name="T7" fmla="*/ 39 h 124"/>
                  <a:gd name="T8" fmla="*/ 20 w 181"/>
                  <a:gd name="T9" fmla="*/ 38 h 124"/>
                  <a:gd name="T10" fmla="*/ 18 w 181"/>
                  <a:gd name="T11" fmla="*/ 37 h 124"/>
                  <a:gd name="T12" fmla="*/ 15 w 181"/>
                  <a:gd name="T13" fmla="*/ 37 h 124"/>
                  <a:gd name="T14" fmla="*/ 11 w 181"/>
                  <a:gd name="T15" fmla="*/ 37 h 124"/>
                  <a:gd name="T16" fmla="*/ 9 w 181"/>
                  <a:gd name="T17" fmla="*/ 38 h 124"/>
                  <a:gd name="T18" fmla="*/ 6 w 181"/>
                  <a:gd name="T19" fmla="*/ 39 h 124"/>
                  <a:gd name="T20" fmla="*/ 4 w 181"/>
                  <a:gd name="T21" fmla="*/ 41 h 124"/>
                  <a:gd name="T22" fmla="*/ 2 w 181"/>
                  <a:gd name="T23" fmla="*/ 43 h 124"/>
                  <a:gd name="T24" fmla="*/ 1 w 181"/>
                  <a:gd name="T25" fmla="*/ 47 h 124"/>
                  <a:gd name="T26" fmla="*/ 0 w 181"/>
                  <a:gd name="T27" fmla="*/ 49 h 124"/>
                  <a:gd name="T28" fmla="*/ 0 w 181"/>
                  <a:gd name="T29" fmla="*/ 52 h 124"/>
                  <a:gd name="T30" fmla="*/ 0 w 181"/>
                  <a:gd name="T31" fmla="*/ 55 h 124"/>
                  <a:gd name="T32" fmla="*/ 1 w 181"/>
                  <a:gd name="T33" fmla="*/ 57 h 124"/>
                  <a:gd name="T34" fmla="*/ 2 w 181"/>
                  <a:gd name="T35" fmla="*/ 61 h 124"/>
                  <a:gd name="T36" fmla="*/ 4 w 181"/>
                  <a:gd name="T37" fmla="*/ 63 h 124"/>
                  <a:gd name="T38" fmla="*/ 61 w 181"/>
                  <a:gd name="T39" fmla="*/ 119 h 124"/>
                  <a:gd name="T40" fmla="*/ 63 w 181"/>
                  <a:gd name="T41" fmla="*/ 122 h 124"/>
                  <a:gd name="T42" fmla="*/ 66 w 181"/>
                  <a:gd name="T43" fmla="*/ 123 h 124"/>
                  <a:gd name="T44" fmla="*/ 68 w 181"/>
                  <a:gd name="T45" fmla="*/ 124 h 124"/>
                  <a:gd name="T46" fmla="*/ 71 w 181"/>
                  <a:gd name="T47" fmla="*/ 124 h 124"/>
                  <a:gd name="T48" fmla="*/ 74 w 181"/>
                  <a:gd name="T49" fmla="*/ 124 h 124"/>
                  <a:gd name="T50" fmla="*/ 77 w 181"/>
                  <a:gd name="T51" fmla="*/ 123 h 124"/>
                  <a:gd name="T52" fmla="*/ 80 w 181"/>
                  <a:gd name="T53" fmla="*/ 122 h 124"/>
                  <a:gd name="T54" fmla="*/ 82 w 181"/>
                  <a:gd name="T55" fmla="*/ 119 h 124"/>
                  <a:gd name="T56" fmla="*/ 176 w 181"/>
                  <a:gd name="T57" fmla="*/ 25 h 124"/>
                  <a:gd name="T58" fmla="*/ 178 w 181"/>
                  <a:gd name="T59" fmla="*/ 23 h 124"/>
                  <a:gd name="T60" fmla="*/ 180 w 181"/>
                  <a:gd name="T61" fmla="*/ 20 h 124"/>
                  <a:gd name="T62" fmla="*/ 180 w 181"/>
                  <a:gd name="T63" fmla="*/ 18 h 124"/>
                  <a:gd name="T64" fmla="*/ 181 w 181"/>
                  <a:gd name="T65" fmla="*/ 14 h 124"/>
                  <a:gd name="T66" fmla="*/ 180 w 181"/>
                  <a:gd name="T67" fmla="*/ 11 h 124"/>
                  <a:gd name="T68" fmla="*/ 180 w 181"/>
                  <a:gd name="T69" fmla="*/ 9 h 124"/>
                  <a:gd name="T70" fmla="*/ 178 w 181"/>
                  <a:gd name="T71" fmla="*/ 6 h 124"/>
                  <a:gd name="T72" fmla="*/ 176 w 181"/>
                  <a:gd name="T73" fmla="*/ 4 h 124"/>
                  <a:gd name="T74" fmla="*/ 174 w 181"/>
                  <a:gd name="T75" fmla="*/ 2 h 124"/>
                  <a:gd name="T76" fmla="*/ 172 w 181"/>
                  <a:gd name="T77" fmla="*/ 1 h 124"/>
                  <a:gd name="T78" fmla="*/ 169 w 181"/>
                  <a:gd name="T79" fmla="*/ 0 h 124"/>
                  <a:gd name="T80" fmla="*/ 166 w 181"/>
                  <a:gd name="T81" fmla="*/ 0 h 124"/>
                  <a:gd name="T82" fmla="*/ 163 w 181"/>
                  <a:gd name="T83" fmla="*/ 0 h 124"/>
                  <a:gd name="T84" fmla="*/ 160 w 181"/>
                  <a:gd name="T85" fmla="*/ 1 h 124"/>
                  <a:gd name="T86" fmla="*/ 158 w 181"/>
                  <a:gd name="T87" fmla="*/ 2 h 124"/>
                  <a:gd name="T88" fmla="*/ 156 w 181"/>
                  <a:gd name="T89"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4">
                    <a:moveTo>
                      <a:pt x="156" y="4"/>
                    </a:moveTo>
                    <a:lnTo>
                      <a:pt x="71" y="88"/>
                    </a:lnTo>
                    <a:lnTo>
                      <a:pt x="25" y="41"/>
                    </a:lnTo>
                    <a:lnTo>
                      <a:pt x="23" y="39"/>
                    </a:lnTo>
                    <a:lnTo>
                      <a:pt x="20" y="38"/>
                    </a:lnTo>
                    <a:lnTo>
                      <a:pt x="18" y="37"/>
                    </a:lnTo>
                    <a:lnTo>
                      <a:pt x="15" y="37"/>
                    </a:lnTo>
                    <a:lnTo>
                      <a:pt x="11" y="37"/>
                    </a:lnTo>
                    <a:lnTo>
                      <a:pt x="9" y="38"/>
                    </a:lnTo>
                    <a:lnTo>
                      <a:pt x="6" y="39"/>
                    </a:lnTo>
                    <a:lnTo>
                      <a:pt x="4" y="41"/>
                    </a:lnTo>
                    <a:lnTo>
                      <a:pt x="2" y="43"/>
                    </a:lnTo>
                    <a:lnTo>
                      <a:pt x="1" y="47"/>
                    </a:lnTo>
                    <a:lnTo>
                      <a:pt x="0" y="49"/>
                    </a:lnTo>
                    <a:lnTo>
                      <a:pt x="0" y="52"/>
                    </a:lnTo>
                    <a:lnTo>
                      <a:pt x="0" y="55"/>
                    </a:lnTo>
                    <a:lnTo>
                      <a:pt x="1" y="57"/>
                    </a:lnTo>
                    <a:lnTo>
                      <a:pt x="2" y="61"/>
                    </a:lnTo>
                    <a:lnTo>
                      <a:pt x="4" y="63"/>
                    </a:lnTo>
                    <a:lnTo>
                      <a:pt x="61" y="119"/>
                    </a:lnTo>
                    <a:lnTo>
                      <a:pt x="63" y="122"/>
                    </a:lnTo>
                    <a:lnTo>
                      <a:pt x="66" y="123"/>
                    </a:lnTo>
                    <a:lnTo>
                      <a:pt x="68" y="124"/>
                    </a:lnTo>
                    <a:lnTo>
                      <a:pt x="71" y="124"/>
                    </a:lnTo>
                    <a:lnTo>
                      <a:pt x="74" y="124"/>
                    </a:lnTo>
                    <a:lnTo>
                      <a:pt x="77" y="123"/>
                    </a:lnTo>
                    <a:lnTo>
                      <a:pt x="80" y="122"/>
                    </a:lnTo>
                    <a:lnTo>
                      <a:pt x="82" y="119"/>
                    </a:lnTo>
                    <a:lnTo>
                      <a:pt x="176" y="25"/>
                    </a:lnTo>
                    <a:lnTo>
                      <a:pt x="178" y="23"/>
                    </a:lnTo>
                    <a:lnTo>
                      <a:pt x="180" y="20"/>
                    </a:lnTo>
                    <a:lnTo>
                      <a:pt x="180" y="18"/>
                    </a:lnTo>
                    <a:lnTo>
                      <a:pt x="181" y="14"/>
                    </a:lnTo>
                    <a:lnTo>
                      <a:pt x="180" y="11"/>
                    </a:lnTo>
                    <a:lnTo>
                      <a:pt x="180" y="9"/>
                    </a:lnTo>
                    <a:lnTo>
                      <a:pt x="178" y="6"/>
                    </a:lnTo>
                    <a:lnTo>
                      <a:pt x="176" y="4"/>
                    </a:lnTo>
                    <a:lnTo>
                      <a:pt x="174" y="2"/>
                    </a:lnTo>
                    <a:lnTo>
                      <a:pt x="172" y="1"/>
                    </a:lnTo>
                    <a:lnTo>
                      <a:pt x="169" y="0"/>
                    </a:lnTo>
                    <a:lnTo>
                      <a:pt x="166" y="0"/>
                    </a:lnTo>
                    <a:lnTo>
                      <a:pt x="163" y="0"/>
                    </a:lnTo>
                    <a:lnTo>
                      <a:pt x="160" y="1"/>
                    </a:lnTo>
                    <a:lnTo>
                      <a:pt x="158" y="2"/>
                    </a:lnTo>
                    <a:lnTo>
                      <a:pt x="156"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34" name="Freeform 186"/>
              <p:cNvSpPr/>
              <p:nvPr/>
            </p:nvSpPr>
            <p:spPr bwMode="auto">
              <a:xfrm>
                <a:off x="11109325" y="1558926"/>
                <a:ext cx="57150" cy="39688"/>
              </a:xfrm>
              <a:custGeom>
                <a:avLst/>
                <a:gdLst>
                  <a:gd name="T0" fmla="*/ 156 w 181"/>
                  <a:gd name="T1" fmla="*/ 5 h 126"/>
                  <a:gd name="T2" fmla="*/ 71 w 181"/>
                  <a:gd name="T3" fmla="*/ 88 h 126"/>
                  <a:gd name="T4" fmla="*/ 25 w 181"/>
                  <a:gd name="T5" fmla="*/ 43 h 126"/>
                  <a:gd name="T6" fmla="*/ 23 w 181"/>
                  <a:gd name="T7" fmla="*/ 41 h 126"/>
                  <a:gd name="T8" fmla="*/ 20 w 181"/>
                  <a:gd name="T9" fmla="*/ 40 h 126"/>
                  <a:gd name="T10" fmla="*/ 18 w 181"/>
                  <a:gd name="T11" fmla="*/ 39 h 126"/>
                  <a:gd name="T12" fmla="*/ 15 w 181"/>
                  <a:gd name="T13" fmla="*/ 39 h 126"/>
                  <a:gd name="T14" fmla="*/ 11 w 181"/>
                  <a:gd name="T15" fmla="*/ 39 h 126"/>
                  <a:gd name="T16" fmla="*/ 9 w 181"/>
                  <a:gd name="T17" fmla="*/ 40 h 126"/>
                  <a:gd name="T18" fmla="*/ 6 w 181"/>
                  <a:gd name="T19" fmla="*/ 41 h 126"/>
                  <a:gd name="T20" fmla="*/ 4 w 181"/>
                  <a:gd name="T21" fmla="*/ 43 h 126"/>
                  <a:gd name="T22" fmla="*/ 2 w 181"/>
                  <a:gd name="T23" fmla="*/ 46 h 126"/>
                  <a:gd name="T24" fmla="*/ 1 w 181"/>
                  <a:gd name="T25" fmla="*/ 49 h 126"/>
                  <a:gd name="T26" fmla="*/ 0 w 181"/>
                  <a:gd name="T27" fmla="*/ 51 h 126"/>
                  <a:gd name="T28" fmla="*/ 0 w 181"/>
                  <a:gd name="T29" fmla="*/ 54 h 126"/>
                  <a:gd name="T30" fmla="*/ 0 w 181"/>
                  <a:gd name="T31" fmla="*/ 57 h 126"/>
                  <a:gd name="T32" fmla="*/ 1 w 181"/>
                  <a:gd name="T33" fmla="*/ 60 h 126"/>
                  <a:gd name="T34" fmla="*/ 2 w 181"/>
                  <a:gd name="T35" fmla="*/ 63 h 126"/>
                  <a:gd name="T36" fmla="*/ 4 w 181"/>
                  <a:gd name="T37" fmla="*/ 65 h 126"/>
                  <a:gd name="T38" fmla="*/ 61 w 181"/>
                  <a:gd name="T39" fmla="*/ 122 h 126"/>
                  <a:gd name="T40" fmla="*/ 63 w 181"/>
                  <a:gd name="T41" fmla="*/ 124 h 126"/>
                  <a:gd name="T42" fmla="*/ 66 w 181"/>
                  <a:gd name="T43" fmla="*/ 125 h 126"/>
                  <a:gd name="T44" fmla="*/ 68 w 181"/>
                  <a:gd name="T45" fmla="*/ 126 h 126"/>
                  <a:gd name="T46" fmla="*/ 71 w 181"/>
                  <a:gd name="T47" fmla="*/ 126 h 126"/>
                  <a:gd name="T48" fmla="*/ 74 w 181"/>
                  <a:gd name="T49" fmla="*/ 126 h 126"/>
                  <a:gd name="T50" fmla="*/ 77 w 181"/>
                  <a:gd name="T51" fmla="*/ 125 h 126"/>
                  <a:gd name="T52" fmla="*/ 80 w 181"/>
                  <a:gd name="T53" fmla="*/ 124 h 126"/>
                  <a:gd name="T54" fmla="*/ 82 w 181"/>
                  <a:gd name="T55" fmla="*/ 122 h 126"/>
                  <a:gd name="T56" fmla="*/ 176 w 181"/>
                  <a:gd name="T57" fmla="*/ 27 h 126"/>
                  <a:gd name="T58" fmla="*/ 178 w 181"/>
                  <a:gd name="T59" fmla="*/ 24 h 126"/>
                  <a:gd name="T60" fmla="*/ 180 w 181"/>
                  <a:gd name="T61" fmla="*/ 22 h 126"/>
                  <a:gd name="T62" fmla="*/ 180 w 181"/>
                  <a:gd name="T63" fmla="*/ 19 h 126"/>
                  <a:gd name="T64" fmla="*/ 181 w 181"/>
                  <a:gd name="T65" fmla="*/ 16 h 126"/>
                  <a:gd name="T66" fmla="*/ 180 w 181"/>
                  <a:gd name="T67" fmla="*/ 12 h 126"/>
                  <a:gd name="T68" fmla="*/ 180 w 181"/>
                  <a:gd name="T69" fmla="*/ 10 h 126"/>
                  <a:gd name="T70" fmla="*/ 178 w 181"/>
                  <a:gd name="T71" fmla="*/ 7 h 126"/>
                  <a:gd name="T72" fmla="*/ 176 w 181"/>
                  <a:gd name="T73" fmla="*/ 5 h 126"/>
                  <a:gd name="T74" fmla="*/ 174 w 181"/>
                  <a:gd name="T75" fmla="*/ 3 h 126"/>
                  <a:gd name="T76" fmla="*/ 172 w 181"/>
                  <a:gd name="T77" fmla="*/ 2 h 126"/>
                  <a:gd name="T78" fmla="*/ 169 w 181"/>
                  <a:gd name="T79" fmla="*/ 1 h 126"/>
                  <a:gd name="T80" fmla="*/ 166 w 181"/>
                  <a:gd name="T81" fmla="*/ 0 h 126"/>
                  <a:gd name="T82" fmla="*/ 163 w 181"/>
                  <a:gd name="T83" fmla="*/ 1 h 126"/>
                  <a:gd name="T84" fmla="*/ 160 w 181"/>
                  <a:gd name="T85" fmla="*/ 2 h 126"/>
                  <a:gd name="T86" fmla="*/ 158 w 181"/>
                  <a:gd name="T87" fmla="*/ 3 h 126"/>
                  <a:gd name="T88" fmla="*/ 156 w 181"/>
                  <a:gd name="T89"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6">
                    <a:moveTo>
                      <a:pt x="156" y="5"/>
                    </a:moveTo>
                    <a:lnTo>
                      <a:pt x="71" y="88"/>
                    </a:lnTo>
                    <a:lnTo>
                      <a:pt x="25" y="43"/>
                    </a:lnTo>
                    <a:lnTo>
                      <a:pt x="23" y="41"/>
                    </a:lnTo>
                    <a:lnTo>
                      <a:pt x="20" y="40"/>
                    </a:lnTo>
                    <a:lnTo>
                      <a:pt x="18" y="39"/>
                    </a:lnTo>
                    <a:lnTo>
                      <a:pt x="15" y="39"/>
                    </a:lnTo>
                    <a:lnTo>
                      <a:pt x="11" y="39"/>
                    </a:lnTo>
                    <a:lnTo>
                      <a:pt x="9" y="40"/>
                    </a:lnTo>
                    <a:lnTo>
                      <a:pt x="6" y="41"/>
                    </a:lnTo>
                    <a:lnTo>
                      <a:pt x="4" y="43"/>
                    </a:lnTo>
                    <a:lnTo>
                      <a:pt x="2" y="46"/>
                    </a:lnTo>
                    <a:lnTo>
                      <a:pt x="1" y="49"/>
                    </a:lnTo>
                    <a:lnTo>
                      <a:pt x="0" y="51"/>
                    </a:lnTo>
                    <a:lnTo>
                      <a:pt x="0" y="54"/>
                    </a:lnTo>
                    <a:lnTo>
                      <a:pt x="0" y="57"/>
                    </a:lnTo>
                    <a:lnTo>
                      <a:pt x="1" y="60"/>
                    </a:lnTo>
                    <a:lnTo>
                      <a:pt x="2" y="63"/>
                    </a:lnTo>
                    <a:lnTo>
                      <a:pt x="4" y="65"/>
                    </a:lnTo>
                    <a:lnTo>
                      <a:pt x="61" y="122"/>
                    </a:lnTo>
                    <a:lnTo>
                      <a:pt x="63" y="124"/>
                    </a:lnTo>
                    <a:lnTo>
                      <a:pt x="66" y="125"/>
                    </a:lnTo>
                    <a:lnTo>
                      <a:pt x="68" y="126"/>
                    </a:lnTo>
                    <a:lnTo>
                      <a:pt x="71" y="126"/>
                    </a:lnTo>
                    <a:lnTo>
                      <a:pt x="74" y="126"/>
                    </a:lnTo>
                    <a:lnTo>
                      <a:pt x="77" y="125"/>
                    </a:lnTo>
                    <a:lnTo>
                      <a:pt x="80" y="124"/>
                    </a:lnTo>
                    <a:lnTo>
                      <a:pt x="82" y="122"/>
                    </a:lnTo>
                    <a:lnTo>
                      <a:pt x="176" y="27"/>
                    </a:lnTo>
                    <a:lnTo>
                      <a:pt x="178" y="24"/>
                    </a:lnTo>
                    <a:lnTo>
                      <a:pt x="180" y="22"/>
                    </a:lnTo>
                    <a:lnTo>
                      <a:pt x="180" y="19"/>
                    </a:lnTo>
                    <a:lnTo>
                      <a:pt x="181" y="16"/>
                    </a:lnTo>
                    <a:lnTo>
                      <a:pt x="180" y="12"/>
                    </a:lnTo>
                    <a:lnTo>
                      <a:pt x="180" y="10"/>
                    </a:lnTo>
                    <a:lnTo>
                      <a:pt x="178" y="7"/>
                    </a:lnTo>
                    <a:lnTo>
                      <a:pt x="176" y="5"/>
                    </a:lnTo>
                    <a:lnTo>
                      <a:pt x="174" y="3"/>
                    </a:lnTo>
                    <a:lnTo>
                      <a:pt x="172" y="2"/>
                    </a:lnTo>
                    <a:lnTo>
                      <a:pt x="169" y="1"/>
                    </a:lnTo>
                    <a:lnTo>
                      <a:pt x="166" y="0"/>
                    </a:lnTo>
                    <a:lnTo>
                      <a:pt x="163" y="1"/>
                    </a:lnTo>
                    <a:lnTo>
                      <a:pt x="160" y="2"/>
                    </a:lnTo>
                    <a:lnTo>
                      <a:pt x="158" y="3"/>
                    </a:lnTo>
                    <a:lnTo>
                      <a:pt x="156"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grpSp>
      </p:grpSp>
      <p:grpSp>
        <p:nvGrpSpPr>
          <p:cNvPr id="35" name="组合 34"/>
          <p:cNvGrpSpPr/>
          <p:nvPr/>
        </p:nvGrpSpPr>
        <p:grpSpPr>
          <a:xfrm>
            <a:off x="6618020" y="4360596"/>
            <a:ext cx="1245819" cy="1622030"/>
            <a:chOff x="6920808" y="4383774"/>
            <a:chExt cx="1565642" cy="2038432"/>
          </a:xfrm>
        </p:grpSpPr>
        <p:sp>
          <p:nvSpPr>
            <p:cNvPr id="36" name="Oval 29"/>
            <p:cNvSpPr/>
            <p:nvPr/>
          </p:nvSpPr>
          <p:spPr>
            <a:xfrm>
              <a:off x="7030991" y="6143766"/>
              <a:ext cx="1104505" cy="278440"/>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37" name="Teardrop 31"/>
            <p:cNvSpPr/>
            <p:nvPr/>
          </p:nvSpPr>
          <p:spPr>
            <a:xfrm rot="8100000">
              <a:off x="6920808" y="4383774"/>
              <a:ext cx="1565642" cy="1565638"/>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38" name="Oval 32"/>
            <p:cNvSpPr/>
            <p:nvPr/>
          </p:nvSpPr>
          <p:spPr>
            <a:xfrm>
              <a:off x="7192691" y="4655657"/>
              <a:ext cx="1021874" cy="10218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39" name="Group 60"/>
            <p:cNvGrpSpPr/>
            <p:nvPr/>
          </p:nvGrpSpPr>
          <p:grpSpPr>
            <a:xfrm>
              <a:off x="7485272" y="4948239"/>
              <a:ext cx="436714" cy="436710"/>
              <a:chOff x="11601450" y="3078163"/>
              <a:chExt cx="285751" cy="285751"/>
            </a:xfrm>
            <a:solidFill>
              <a:schemeClr val="accent1"/>
            </a:solidFill>
          </p:grpSpPr>
          <p:sp>
            <p:nvSpPr>
              <p:cNvPr id="40" name="Freeform 266"/>
              <p:cNvSpPr>
                <a:spLocks noEditPoints="1"/>
              </p:cNvSpPr>
              <p:nvPr/>
            </p:nvSpPr>
            <p:spPr bwMode="auto">
              <a:xfrm>
                <a:off x="11601450" y="3078163"/>
                <a:ext cx="200025" cy="257175"/>
              </a:xfrm>
              <a:custGeom>
                <a:avLst/>
                <a:gdLst>
                  <a:gd name="T0" fmla="*/ 451 w 630"/>
                  <a:gd name="T1" fmla="*/ 53 h 812"/>
                  <a:gd name="T2" fmla="*/ 579 w 630"/>
                  <a:gd name="T3" fmla="*/ 180 h 812"/>
                  <a:gd name="T4" fmla="*/ 451 w 630"/>
                  <a:gd name="T5" fmla="*/ 180 h 812"/>
                  <a:gd name="T6" fmla="*/ 451 w 630"/>
                  <a:gd name="T7" fmla="*/ 53 h 812"/>
                  <a:gd name="T8" fmla="*/ 600 w 630"/>
                  <a:gd name="T9" fmla="*/ 357 h 812"/>
                  <a:gd name="T10" fmla="*/ 630 w 630"/>
                  <a:gd name="T11" fmla="*/ 357 h 812"/>
                  <a:gd name="T12" fmla="*/ 630 w 630"/>
                  <a:gd name="T13" fmla="*/ 196 h 812"/>
                  <a:gd name="T14" fmla="*/ 630 w 630"/>
                  <a:gd name="T15" fmla="*/ 193 h 812"/>
                  <a:gd name="T16" fmla="*/ 629 w 630"/>
                  <a:gd name="T17" fmla="*/ 191 h 812"/>
                  <a:gd name="T18" fmla="*/ 628 w 630"/>
                  <a:gd name="T19" fmla="*/ 188 h 812"/>
                  <a:gd name="T20" fmla="*/ 626 w 630"/>
                  <a:gd name="T21" fmla="*/ 186 h 812"/>
                  <a:gd name="T22" fmla="*/ 446 w 630"/>
                  <a:gd name="T23" fmla="*/ 5 h 812"/>
                  <a:gd name="T24" fmla="*/ 444 w 630"/>
                  <a:gd name="T25" fmla="*/ 4 h 812"/>
                  <a:gd name="T26" fmla="*/ 441 w 630"/>
                  <a:gd name="T27" fmla="*/ 1 h 812"/>
                  <a:gd name="T28" fmla="*/ 439 w 630"/>
                  <a:gd name="T29" fmla="*/ 1 h 812"/>
                  <a:gd name="T30" fmla="*/ 436 w 630"/>
                  <a:gd name="T31" fmla="*/ 0 h 812"/>
                  <a:gd name="T32" fmla="*/ 15 w 630"/>
                  <a:gd name="T33" fmla="*/ 0 h 812"/>
                  <a:gd name="T34" fmla="*/ 12 w 630"/>
                  <a:gd name="T35" fmla="*/ 0 h 812"/>
                  <a:gd name="T36" fmla="*/ 9 w 630"/>
                  <a:gd name="T37" fmla="*/ 1 h 812"/>
                  <a:gd name="T38" fmla="*/ 6 w 630"/>
                  <a:gd name="T39" fmla="*/ 4 h 812"/>
                  <a:gd name="T40" fmla="*/ 4 w 630"/>
                  <a:gd name="T41" fmla="*/ 5 h 812"/>
                  <a:gd name="T42" fmla="*/ 2 w 630"/>
                  <a:gd name="T43" fmla="*/ 8 h 812"/>
                  <a:gd name="T44" fmla="*/ 1 w 630"/>
                  <a:gd name="T45" fmla="*/ 10 h 812"/>
                  <a:gd name="T46" fmla="*/ 0 w 630"/>
                  <a:gd name="T47" fmla="*/ 12 h 812"/>
                  <a:gd name="T48" fmla="*/ 0 w 630"/>
                  <a:gd name="T49" fmla="*/ 15 h 812"/>
                  <a:gd name="T50" fmla="*/ 0 w 630"/>
                  <a:gd name="T51" fmla="*/ 797 h 812"/>
                  <a:gd name="T52" fmla="*/ 0 w 630"/>
                  <a:gd name="T53" fmla="*/ 800 h 812"/>
                  <a:gd name="T54" fmla="*/ 1 w 630"/>
                  <a:gd name="T55" fmla="*/ 803 h 812"/>
                  <a:gd name="T56" fmla="*/ 2 w 630"/>
                  <a:gd name="T57" fmla="*/ 805 h 812"/>
                  <a:gd name="T58" fmla="*/ 4 w 630"/>
                  <a:gd name="T59" fmla="*/ 807 h 812"/>
                  <a:gd name="T60" fmla="*/ 6 w 630"/>
                  <a:gd name="T61" fmla="*/ 809 h 812"/>
                  <a:gd name="T62" fmla="*/ 9 w 630"/>
                  <a:gd name="T63" fmla="*/ 811 h 812"/>
                  <a:gd name="T64" fmla="*/ 12 w 630"/>
                  <a:gd name="T65" fmla="*/ 812 h 812"/>
                  <a:gd name="T66" fmla="*/ 15 w 630"/>
                  <a:gd name="T67" fmla="*/ 812 h 812"/>
                  <a:gd name="T68" fmla="*/ 394 w 630"/>
                  <a:gd name="T69" fmla="*/ 812 h 812"/>
                  <a:gd name="T70" fmla="*/ 394 w 630"/>
                  <a:gd name="T71" fmla="*/ 782 h 812"/>
                  <a:gd name="T72" fmla="*/ 30 w 630"/>
                  <a:gd name="T73" fmla="*/ 782 h 812"/>
                  <a:gd name="T74" fmla="*/ 30 w 630"/>
                  <a:gd name="T75" fmla="*/ 30 h 812"/>
                  <a:gd name="T76" fmla="*/ 421 w 630"/>
                  <a:gd name="T77" fmla="*/ 30 h 812"/>
                  <a:gd name="T78" fmla="*/ 421 w 630"/>
                  <a:gd name="T79" fmla="*/ 196 h 812"/>
                  <a:gd name="T80" fmla="*/ 421 w 630"/>
                  <a:gd name="T81" fmla="*/ 199 h 812"/>
                  <a:gd name="T82" fmla="*/ 422 w 630"/>
                  <a:gd name="T83" fmla="*/ 202 h 812"/>
                  <a:gd name="T84" fmla="*/ 423 w 630"/>
                  <a:gd name="T85" fmla="*/ 205 h 812"/>
                  <a:gd name="T86" fmla="*/ 425 w 630"/>
                  <a:gd name="T87" fmla="*/ 207 h 812"/>
                  <a:gd name="T88" fmla="*/ 427 w 630"/>
                  <a:gd name="T89" fmla="*/ 208 h 812"/>
                  <a:gd name="T90" fmla="*/ 429 w 630"/>
                  <a:gd name="T91" fmla="*/ 210 h 812"/>
                  <a:gd name="T92" fmla="*/ 432 w 630"/>
                  <a:gd name="T93" fmla="*/ 210 h 812"/>
                  <a:gd name="T94" fmla="*/ 436 w 630"/>
                  <a:gd name="T95" fmla="*/ 211 h 812"/>
                  <a:gd name="T96" fmla="*/ 600 w 630"/>
                  <a:gd name="T97" fmla="*/ 211 h 812"/>
                  <a:gd name="T98" fmla="*/ 600 w 630"/>
                  <a:gd name="T99" fmla="*/ 357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0" h="812">
                    <a:moveTo>
                      <a:pt x="451" y="53"/>
                    </a:moveTo>
                    <a:lnTo>
                      <a:pt x="579" y="180"/>
                    </a:lnTo>
                    <a:lnTo>
                      <a:pt x="451" y="180"/>
                    </a:lnTo>
                    <a:lnTo>
                      <a:pt x="451" y="53"/>
                    </a:lnTo>
                    <a:close/>
                    <a:moveTo>
                      <a:pt x="600" y="357"/>
                    </a:moveTo>
                    <a:lnTo>
                      <a:pt x="630" y="357"/>
                    </a:lnTo>
                    <a:lnTo>
                      <a:pt x="630" y="196"/>
                    </a:lnTo>
                    <a:lnTo>
                      <a:pt x="630" y="193"/>
                    </a:lnTo>
                    <a:lnTo>
                      <a:pt x="629" y="191"/>
                    </a:lnTo>
                    <a:lnTo>
                      <a:pt x="628" y="188"/>
                    </a:lnTo>
                    <a:lnTo>
                      <a:pt x="626" y="186"/>
                    </a:lnTo>
                    <a:lnTo>
                      <a:pt x="446" y="5"/>
                    </a:lnTo>
                    <a:lnTo>
                      <a:pt x="444" y="4"/>
                    </a:lnTo>
                    <a:lnTo>
                      <a:pt x="441" y="1"/>
                    </a:lnTo>
                    <a:lnTo>
                      <a:pt x="439" y="1"/>
                    </a:lnTo>
                    <a:lnTo>
                      <a:pt x="436" y="0"/>
                    </a:lnTo>
                    <a:lnTo>
                      <a:pt x="15" y="0"/>
                    </a:lnTo>
                    <a:lnTo>
                      <a:pt x="12" y="0"/>
                    </a:lnTo>
                    <a:lnTo>
                      <a:pt x="9" y="1"/>
                    </a:lnTo>
                    <a:lnTo>
                      <a:pt x="6" y="4"/>
                    </a:lnTo>
                    <a:lnTo>
                      <a:pt x="4" y="5"/>
                    </a:lnTo>
                    <a:lnTo>
                      <a:pt x="2" y="8"/>
                    </a:lnTo>
                    <a:lnTo>
                      <a:pt x="1" y="10"/>
                    </a:lnTo>
                    <a:lnTo>
                      <a:pt x="0" y="12"/>
                    </a:lnTo>
                    <a:lnTo>
                      <a:pt x="0" y="15"/>
                    </a:lnTo>
                    <a:lnTo>
                      <a:pt x="0" y="797"/>
                    </a:lnTo>
                    <a:lnTo>
                      <a:pt x="0" y="800"/>
                    </a:lnTo>
                    <a:lnTo>
                      <a:pt x="1" y="803"/>
                    </a:lnTo>
                    <a:lnTo>
                      <a:pt x="2" y="805"/>
                    </a:lnTo>
                    <a:lnTo>
                      <a:pt x="4" y="807"/>
                    </a:lnTo>
                    <a:lnTo>
                      <a:pt x="6" y="809"/>
                    </a:lnTo>
                    <a:lnTo>
                      <a:pt x="9" y="811"/>
                    </a:lnTo>
                    <a:lnTo>
                      <a:pt x="12" y="812"/>
                    </a:lnTo>
                    <a:lnTo>
                      <a:pt x="15" y="812"/>
                    </a:lnTo>
                    <a:lnTo>
                      <a:pt x="394" y="812"/>
                    </a:lnTo>
                    <a:lnTo>
                      <a:pt x="394" y="782"/>
                    </a:lnTo>
                    <a:lnTo>
                      <a:pt x="30" y="782"/>
                    </a:lnTo>
                    <a:lnTo>
                      <a:pt x="30" y="30"/>
                    </a:lnTo>
                    <a:lnTo>
                      <a:pt x="421" y="30"/>
                    </a:lnTo>
                    <a:lnTo>
                      <a:pt x="421" y="196"/>
                    </a:lnTo>
                    <a:lnTo>
                      <a:pt x="421" y="199"/>
                    </a:lnTo>
                    <a:lnTo>
                      <a:pt x="422" y="202"/>
                    </a:lnTo>
                    <a:lnTo>
                      <a:pt x="423" y="205"/>
                    </a:lnTo>
                    <a:lnTo>
                      <a:pt x="425" y="207"/>
                    </a:lnTo>
                    <a:lnTo>
                      <a:pt x="427" y="208"/>
                    </a:lnTo>
                    <a:lnTo>
                      <a:pt x="429" y="210"/>
                    </a:lnTo>
                    <a:lnTo>
                      <a:pt x="432" y="210"/>
                    </a:lnTo>
                    <a:lnTo>
                      <a:pt x="436" y="211"/>
                    </a:lnTo>
                    <a:lnTo>
                      <a:pt x="600" y="211"/>
                    </a:lnTo>
                    <a:lnTo>
                      <a:pt x="600" y="3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41" name="Freeform 267"/>
              <p:cNvSpPr>
                <a:spLocks noEditPoints="1"/>
              </p:cNvSpPr>
              <p:nvPr/>
            </p:nvSpPr>
            <p:spPr bwMode="auto">
              <a:xfrm>
                <a:off x="11758613" y="3225801"/>
                <a:ext cx="128588" cy="138113"/>
              </a:xfrm>
              <a:custGeom>
                <a:avLst/>
                <a:gdLst>
                  <a:gd name="T0" fmla="*/ 34 w 406"/>
                  <a:gd name="T1" fmla="*/ 138 h 435"/>
                  <a:gd name="T2" fmla="*/ 46 w 406"/>
                  <a:gd name="T3" fmla="*/ 102 h 435"/>
                  <a:gd name="T4" fmla="*/ 70 w 406"/>
                  <a:gd name="T5" fmla="*/ 71 h 435"/>
                  <a:gd name="T6" fmla="*/ 101 w 406"/>
                  <a:gd name="T7" fmla="*/ 47 h 435"/>
                  <a:gd name="T8" fmla="*/ 139 w 406"/>
                  <a:gd name="T9" fmla="*/ 33 h 435"/>
                  <a:gd name="T10" fmla="*/ 179 w 406"/>
                  <a:gd name="T11" fmla="*/ 31 h 435"/>
                  <a:gd name="T12" fmla="*/ 219 w 406"/>
                  <a:gd name="T13" fmla="*/ 41 h 435"/>
                  <a:gd name="T14" fmla="*/ 252 w 406"/>
                  <a:gd name="T15" fmla="*/ 61 h 435"/>
                  <a:gd name="T16" fmla="*/ 278 w 406"/>
                  <a:gd name="T17" fmla="*/ 90 h 435"/>
                  <a:gd name="T18" fmla="*/ 295 w 406"/>
                  <a:gd name="T19" fmla="*/ 125 h 435"/>
                  <a:gd name="T20" fmla="*/ 301 w 406"/>
                  <a:gd name="T21" fmla="*/ 166 h 435"/>
                  <a:gd name="T22" fmla="*/ 295 w 406"/>
                  <a:gd name="T23" fmla="*/ 205 h 435"/>
                  <a:gd name="T24" fmla="*/ 278 w 406"/>
                  <a:gd name="T25" fmla="*/ 241 h 435"/>
                  <a:gd name="T26" fmla="*/ 252 w 406"/>
                  <a:gd name="T27" fmla="*/ 270 h 435"/>
                  <a:gd name="T28" fmla="*/ 219 w 406"/>
                  <a:gd name="T29" fmla="*/ 290 h 435"/>
                  <a:gd name="T30" fmla="*/ 179 w 406"/>
                  <a:gd name="T31" fmla="*/ 300 h 435"/>
                  <a:gd name="T32" fmla="*/ 139 w 406"/>
                  <a:gd name="T33" fmla="*/ 297 h 435"/>
                  <a:gd name="T34" fmla="*/ 101 w 406"/>
                  <a:gd name="T35" fmla="*/ 285 h 435"/>
                  <a:gd name="T36" fmla="*/ 70 w 406"/>
                  <a:gd name="T37" fmla="*/ 261 h 435"/>
                  <a:gd name="T38" fmla="*/ 46 w 406"/>
                  <a:gd name="T39" fmla="*/ 230 h 435"/>
                  <a:gd name="T40" fmla="*/ 34 w 406"/>
                  <a:gd name="T41" fmla="*/ 193 h 435"/>
                  <a:gd name="T42" fmla="*/ 402 w 406"/>
                  <a:gd name="T43" fmla="*/ 410 h 435"/>
                  <a:gd name="T44" fmla="*/ 300 w 406"/>
                  <a:gd name="T45" fmla="*/ 262 h 435"/>
                  <a:gd name="T46" fmla="*/ 323 w 406"/>
                  <a:gd name="T47" fmla="*/ 217 h 435"/>
                  <a:gd name="T48" fmla="*/ 331 w 406"/>
                  <a:gd name="T49" fmla="*/ 166 h 435"/>
                  <a:gd name="T50" fmla="*/ 324 w 406"/>
                  <a:gd name="T51" fmla="*/ 117 h 435"/>
                  <a:gd name="T52" fmla="*/ 302 w 406"/>
                  <a:gd name="T53" fmla="*/ 74 h 435"/>
                  <a:gd name="T54" fmla="*/ 271 w 406"/>
                  <a:gd name="T55" fmla="*/ 38 h 435"/>
                  <a:gd name="T56" fmla="*/ 229 w 406"/>
                  <a:gd name="T57" fmla="*/ 13 h 435"/>
                  <a:gd name="T58" fmla="*/ 182 w 406"/>
                  <a:gd name="T59" fmla="*/ 1 h 435"/>
                  <a:gd name="T60" fmla="*/ 132 w 406"/>
                  <a:gd name="T61" fmla="*/ 3 h 435"/>
                  <a:gd name="T62" fmla="*/ 87 w 406"/>
                  <a:gd name="T63" fmla="*/ 20 h 435"/>
                  <a:gd name="T64" fmla="*/ 49 w 406"/>
                  <a:gd name="T65" fmla="*/ 49 h 435"/>
                  <a:gd name="T66" fmla="*/ 21 w 406"/>
                  <a:gd name="T67" fmla="*/ 87 h 435"/>
                  <a:gd name="T68" fmla="*/ 4 w 406"/>
                  <a:gd name="T69" fmla="*/ 133 h 435"/>
                  <a:gd name="T70" fmla="*/ 2 w 406"/>
                  <a:gd name="T71" fmla="*/ 182 h 435"/>
                  <a:gd name="T72" fmla="*/ 13 w 406"/>
                  <a:gd name="T73" fmla="*/ 230 h 435"/>
                  <a:gd name="T74" fmla="*/ 38 w 406"/>
                  <a:gd name="T75" fmla="*/ 271 h 435"/>
                  <a:gd name="T76" fmla="*/ 73 w 406"/>
                  <a:gd name="T77" fmla="*/ 303 h 435"/>
                  <a:gd name="T78" fmla="*/ 117 w 406"/>
                  <a:gd name="T79" fmla="*/ 323 h 435"/>
                  <a:gd name="T80" fmla="*/ 165 w 406"/>
                  <a:gd name="T81" fmla="*/ 331 h 435"/>
                  <a:gd name="T82" fmla="*/ 202 w 406"/>
                  <a:gd name="T83" fmla="*/ 326 h 435"/>
                  <a:gd name="T84" fmla="*/ 234 w 406"/>
                  <a:gd name="T85" fmla="*/ 316 h 435"/>
                  <a:gd name="T86" fmla="*/ 380 w 406"/>
                  <a:gd name="T87" fmla="*/ 431 h 435"/>
                  <a:gd name="T88" fmla="*/ 388 w 406"/>
                  <a:gd name="T89" fmla="*/ 435 h 435"/>
                  <a:gd name="T90" fmla="*/ 396 w 406"/>
                  <a:gd name="T91" fmla="*/ 434 h 435"/>
                  <a:gd name="T92" fmla="*/ 404 w 406"/>
                  <a:gd name="T93" fmla="*/ 429 h 435"/>
                  <a:gd name="T94" fmla="*/ 406 w 406"/>
                  <a:gd name="T95" fmla="*/ 422 h 435"/>
                  <a:gd name="T96" fmla="*/ 404 w 406"/>
                  <a:gd name="T97" fmla="*/ 413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435">
                    <a:moveTo>
                      <a:pt x="30" y="166"/>
                    </a:moveTo>
                    <a:lnTo>
                      <a:pt x="32" y="152"/>
                    </a:lnTo>
                    <a:lnTo>
                      <a:pt x="34" y="138"/>
                    </a:lnTo>
                    <a:lnTo>
                      <a:pt x="37" y="125"/>
                    </a:lnTo>
                    <a:lnTo>
                      <a:pt x="41" y="113"/>
                    </a:lnTo>
                    <a:lnTo>
                      <a:pt x="46" y="102"/>
                    </a:lnTo>
                    <a:lnTo>
                      <a:pt x="54" y="90"/>
                    </a:lnTo>
                    <a:lnTo>
                      <a:pt x="61" y="80"/>
                    </a:lnTo>
                    <a:lnTo>
                      <a:pt x="70" y="71"/>
                    </a:lnTo>
                    <a:lnTo>
                      <a:pt x="80" y="61"/>
                    </a:lnTo>
                    <a:lnTo>
                      <a:pt x="90" y="53"/>
                    </a:lnTo>
                    <a:lnTo>
                      <a:pt x="101" y="47"/>
                    </a:lnTo>
                    <a:lnTo>
                      <a:pt x="113" y="41"/>
                    </a:lnTo>
                    <a:lnTo>
                      <a:pt x="126" y="36"/>
                    </a:lnTo>
                    <a:lnTo>
                      <a:pt x="139" y="33"/>
                    </a:lnTo>
                    <a:lnTo>
                      <a:pt x="152" y="31"/>
                    </a:lnTo>
                    <a:lnTo>
                      <a:pt x="165" y="30"/>
                    </a:lnTo>
                    <a:lnTo>
                      <a:pt x="179" y="31"/>
                    </a:lnTo>
                    <a:lnTo>
                      <a:pt x="193" y="33"/>
                    </a:lnTo>
                    <a:lnTo>
                      <a:pt x="206" y="36"/>
                    </a:lnTo>
                    <a:lnTo>
                      <a:pt x="219" y="41"/>
                    </a:lnTo>
                    <a:lnTo>
                      <a:pt x="231" y="47"/>
                    </a:lnTo>
                    <a:lnTo>
                      <a:pt x="241" y="53"/>
                    </a:lnTo>
                    <a:lnTo>
                      <a:pt x="252" y="61"/>
                    </a:lnTo>
                    <a:lnTo>
                      <a:pt x="262" y="71"/>
                    </a:lnTo>
                    <a:lnTo>
                      <a:pt x="270" y="80"/>
                    </a:lnTo>
                    <a:lnTo>
                      <a:pt x="278" y="90"/>
                    </a:lnTo>
                    <a:lnTo>
                      <a:pt x="284" y="102"/>
                    </a:lnTo>
                    <a:lnTo>
                      <a:pt x="290" y="113"/>
                    </a:lnTo>
                    <a:lnTo>
                      <a:pt x="295" y="125"/>
                    </a:lnTo>
                    <a:lnTo>
                      <a:pt x="298" y="138"/>
                    </a:lnTo>
                    <a:lnTo>
                      <a:pt x="300" y="152"/>
                    </a:lnTo>
                    <a:lnTo>
                      <a:pt x="301" y="166"/>
                    </a:lnTo>
                    <a:lnTo>
                      <a:pt x="300" y="180"/>
                    </a:lnTo>
                    <a:lnTo>
                      <a:pt x="298" y="193"/>
                    </a:lnTo>
                    <a:lnTo>
                      <a:pt x="295" y="205"/>
                    </a:lnTo>
                    <a:lnTo>
                      <a:pt x="290" y="218"/>
                    </a:lnTo>
                    <a:lnTo>
                      <a:pt x="284" y="230"/>
                    </a:lnTo>
                    <a:lnTo>
                      <a:pt x="278" y="241"/>
                    </a:lnTo>
                    <a:lnTo>
                      <a:pt x="270" y="251"/>
                    </a:lnTo>
                    <a:lnTo>
                      <a:pt x="262" y="261"/>
                    </a:lnTo>
                    <a:lnTo>
                      <a:pt x="252" y="270"/>
                    </a:lnTo>
                    <a:lnTo>
                      <a:pt x="241" y="277"/>
                    </a:lnTo>
                    <a:lnTo>
                      <a:pt x="231" y="285"/>
                    </a:lnTo>
                    <a:lnTo>
                      <a:pt x="219" y="290"/>
                    </a:lnTo>
                    <a:lnTo>
                      <a:pt x="206" y="294"/>
                    </a:lnTo>
                    <a:lnTo>
                      <a:pt x="193" y="297"/>
                    </a:lnTo>
                    <a:lnTo>
                      <a:pt x="179" y="300"/>
                    </a:lnTo>
                    <a:lnTo>
                      <a:pt x="165" y="301"/>
                    </a:lnTo>
                    <a:lnTo>
                      <a:pt x="152" y="300"/>
                    </a:lnTo>
                    <a:lnTo>
                      <a:pt x="139" y="297"/>
                    </a:lnTo>
                    <a:lnTo>
                      <a:pt x="126" y="294"/>
                    </a:lnTo>
                    <a:lnTo>
                      <a:pt x="113" y="290"/>
                    </a:lnTo>
                    <a:lnTo>
                      <a:pt x="101" y="285"/>
                    </a:lnTo>
                    <a:lnTo>
                      <a:pt x="90" y="277"/>
                    </a:lnTo>
                    <a:lnTo>
                      <a:pt x="80" y="270"/>
                    </a:lnTo>
                    <a:lnTo>
                      <a:pt x="70" y="261"/>
                    </a:lnTo>
                    <a:lnTo>
                      <a:pt x="61" y="251"/>
                    </a:lnTo>
                    <a:lnTo>
                      <a:pt x="54" y="241"/>
                    </a:lnTo>
                    <a:lnTo>
                      <a:pt x="46" y="230"/>
                    </a:lnTo>
                    <a:lnTo>
                      <a:pt x="41" y="218"/>
                    </a:lnTo>
                    <a:lnTo>
                      <a:pt x="37" y="205"/>
                    </a:lnTo>
                    <a:lnTo>
                      <a:pt x="34" y="193"/>
                    </a:lnTo>
                    <a:lnTo>
                      <a:pt x="32" y="179"/>
                    </a:lnTo>
                    <a:lnTo>
                      <a:pt x="30" y="166"/>
                    </a:lnTo>
                    <a:close/>
                    <a:moveTo>
                      <a:pt x="402" y="410"/>
                    </a:moveTo>
                    <a:lnTo>
                      <a:pt x="278" y="287"/>
                    </a:lnTo>
                    <a:lnTo>
                      <a:pt x="289" y="275"/>
                    </a:lnTo>
                    <a:lnTo>
                      <a:pt x="300" y="262"/>
                    </a:lnTo>
                    <a:lnTo>
                      <a:pt x="309" y="248"/>
                    </a:lnTo>
                    <a:lnTo>
                      <a:pt x="316" y="233"/>
                    </a:lnTo>
                    <a:lnTo>
                      <a:pt x="323" y="217"/>
                    </a:lnTo>
                    <a:lnTo>
                      <a:pt x="327" y="200"/>
                    </a:lnTo>
                    <a:lnTo>
                      <a:pt x="330" y="183"/>
                    </a:lnTo>
                    <a:lnTo>
                      <a:pt x="331" y="166"/>
                    </a:lnTo>
                    <a:lnTo>
                      <a:pt x="330" y="149"/>
                    </a:lnTo>
                    <a:lnTo>
                      <a:pt x="328" y="133"/>
                    </a:lnTo>
                    <a:lnTo>
                      <a:pt x="324" y="117"/>
                    </a:lnTo>
                    <a:lnTo>
                      <a:pt x="318" y="102"/>
                    </a:lnTo>
                    <a:lnTo>
                      <a:pt x="311" y="87"/>
                    </a:lnTo>
                    <a:lnTo>
                      <a:pt x="302" y="74"/>
                    </a:lnTo>
                    <a:lnTo>
                      <a:pt x="294" y="61"/>
                    </a:lnTo>
                    <a:lnTo>
                      <a:pt x="283" y="49"/>
                    </a:lnTo>
                    <a:lnTo>
                      <a:pt x="271" y="38"/>
                    </a:lnTo>
                    <a:lnTo>
                      <a:pt x="258" y="29"/>
                    </a:lnTo>
                    <a:lnTo>
                      <a:pt x="244" y="20"/>
                    </a:lnTo>
                    <a:lnTo>
                      <a:pt x="229" y="13"/>
                    </a:lnTo>
                    <a:lnTo>
                      <a:pt x="214" y="7"/>
                    </a:lnTo>
                    <a:lnTo>
                      <a:pt x="198" y="3"/>
                    </a:lnTo>
                    <a:lnTo>
                      <a:pt x="182" y="1"/>
                    </a:lnTo>
                    <a:lnTo>
                      <a:pt x="165" y="0"/>
                    </a:lnTo>
                    <a:lnTo>
                      <a:pt x="149" y="1"/>
                    </a:lnTo>
                    <a:lnTo>
                      <a:pt x="132" y="3"/>
                    </a:lnTo>
                    <a:lnTo>
                      <a:pt x="117" y="7"/>
                    </a:lnTo>
                    <a:lnTo>
                      <a:pt x="101" y="13"/>
                    </a:lnTo>
                    <a:lnTo>
                      <a:pt x="87" y="20"/>
                    </a:lnTo>
                    <a:lnTo>
                      <a:pt x="73" y="29"/>
                    </a:lnTo>
                    <a:lnTo>
                      <a:pt x="60" y="38"/>
                    </a:lnTo>
                    <a:lnTo>
                      <a:pt x="49" y="49"/>
                    </a:lnTo>
                    <a:lnTo>
                      <a:pt x="38" y="61"/>
                    </a:lnTo>
                    <a:lnTo>
                      <a:pt x="28" y="74"/>
                    </a:lnTo>
                    <a:lnTo>
                      <a:pt x="21" y="87"/>
                    </a:lnTo>
                    <a:lnTo>
                      <a:pt x="13" y="102"/>
                    </a:lnTo>
                    <a:lnTo>
                      <a:pt x="8" y="117"/>
                    </a:lnTo>
                    <a:lnTo>
                      <a:pt x="4" y="133"/>
                    </a:lnTo>
                    <a:lnTo>
                      <a:pt x="2" y="149"/>
                    </a:lnTo>
                    <a:lnTo>
                      <a:pt x="0" y="166"/>
                    </a:lnTo>
                    <a:lnTo>
                      <a:pt x="2" y="182"/>
                    </a:lnTo>
                    <a:lnTo>
                      <a:pt x="4" y="199"/>
                    </a:lnTo>
                    <a:lnTo>
                      <a:pt x="8" y="215"/>
                    </a:lnTo>
                    <a:lnTo>
                      <a:pt x="13" y="230"/>
                    </a:lnTo>
                    <a:lnTo>
                      <a:pt x="21" y="244"/>
                    </a:lnTo>
                    <a:lnTo>
                      <a:pt x="28" y="258"/>
                    </a:lnTo>
                    <a:lnTo>
                      <a:pt x="38" y="271"/>
                    </a:lnTo>
                    <a:lnTo>
                      <a:pt x="49" y="282"/>
                    </a:lnTo>
                    <a:lnTo>
                      <a:pt x="60" y="293"/>
                    </a:lnTo>
                    <a:lnTo>
                      <a:pt x="73" y="303"/>
                    </a:lnTo>
                    <a:lnTo>
                      <a:pt x="87" y="310"/>
                    </a:lnTo>
                    <a:lnTo>
                      <a:pt x="101" y="318"/>
                    </a:lnTo>
                    <a:lnTo>
                      <a:pt x="117" y="323"/>
                    </a:lnTo>
                    <a:lnTo>
                      <a:pt x="132" y="327"/>
                    </a:lnTo>
                    <a:lnTo>
                      <a:pt x="149" y="330"/>
                    </a:lnTo>
                    <a:lnTo>
                      <a:pt x="165" y="331"/>
                    </a:lnTo>
                    <a:lnTo>
                      <a:pt x="178" y="331"/>
                    </a:lnTo>
                    <a:lnTo>
                      <a:pt x="190" y="328"/>
                    </a:lnTo>
                    <a:lnTo>
                      <a:pt x="202" y="326"/>
                    </a:lnTo>
                    <a:lnTo>
                      <a:pt x="212" y="324"/>
                    </a:lnTo>
                    <a:lnTo>
                      <a:pt x="223" y="320"/>
                    </a:lnTo>
                    <a:lnTo>
                      <a:pt x="234" y="316"/>
                    </a:lnTo>
                    <a:lnTo>
                      <a:pt x="244" y="311"/>
                    </a:lnTo>
                    <a:lnTo>
                      <a:pt x="254" y="305"/>
                    </a:lnTo>
                    <a:lnTo>
                      <a:pt x="380" y="431"/>
                    </a:lnTo>
                    <a:lnTo>
                      <a:pt x="382" y="433"/>
                    </a:lnTo>
                    <a:lnTo>
                      <a:pt x="386" y="434"/>
                    </a:lnTo>
                    <a:lnTo>
                      <a:pt x="388" y="435"/>
                    </a:lnTo>
                    <a:lnTo>
                      <a:pt x="391" y="435"/>
                    </a:lnTo>
                    <a:lnTo>
                      <a:pt x="394" y="435"/>
                    </a:lnTo>
                    <a:lnTo>
                      <a:pt x="396" y="434"/>
                    </a:lnTo>
                    <a:lnTo>
                      <a:pt x="400" y="433"/>
                    </a:lnTo>
                    <a:lnTo>
                      <a:pt x="402" y="431"/>
                    </a:lnTo>
                    <a:lnTo>
                      <a:pt x="404" y="429"/>
                    </a:lnTo>
                    <a:lnTo>
                      <a:pt x="405" y="427"/>
                    </a:lnTo>
                    <a:lnTo>
                      <a:pt x="406" y="424"/>
                    </a:lnTo>
                    <a:lnTo>
                      <a:pt x="406" y="422"/>
                    </a:lnTo>
                    <a:lnTo>
                      <a:pt x="406" y="418"/>
                    </a:lnTo>
                    <a:lnTo>
                      <a:pt x="405" y="415"/>
                    </a:lnTo>
                    <a:lnTo>
                      <a:pt x="404" y="413"/>
                    </a:lnTo>
                    <a:lnTo>
                      <a:pt x="402" y="4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grpSp>
      </p:grpSp>
      <p:grpSp>
        <p:nvGrpSpPr>
          <p:cNvPr id="44" name="组合 43"/>
          <p:cNvGrpSpPr/>
          <p:nvPr/>
        </p:nvGrpSpPr>
        <p:grpSpPr>
          <a:xfrm>
            <a:off x="9184811" y="4716724"/>
            <a:ext cx="2527764" cy="1283970"/>
            <a:chOff x="768928" y="2702676"/>
            <a:chExt cx="2527764" cy="1283970"/>
          </a:xfrm>
        </p:grpSpPr>
        <p:sp>
          <p:nvSpPr>
            <p:cNvPr id="45" name="iS1íḍê"/>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一步</a:t>
              </a:r>
              <a:endParaRPr lang="en-US" altLang="zh-CN" sz="2000" b="1" dirty="0">
                <a:solidFill>
                  <a:schemeClr val="accent1"/>
                </a:solidFill>
                <a:cs typeface="+mn-ea"/>
                <a:sym typeface="+mn-lt"/>
              </a:endParaRPr>
            </a:p>
          </p:txBody>
        </p:sp>
        <p:sp>
          <p:nvSpPr>
            <p:cNvPr id="46" name="ï$1idé"/>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sz="1600" dirty="0">
                  <a:solidFill>
                    <a:schemeClr val="tx1">
                      <a:lumMod val="75000"/>
                      <a:lumOff val="25000"/>
                    </a:schemeClr>
                  </a:solidFill>
                  <a:cs typeface="+mn-ea"/>
                  <a:sym typeface="+mn-lt"/>
                </a:rPr>
                <a:t>编写画面中物体的类；</a:t>
              </a:r>
              <a:endParaRPr lang="en-US" altLang="zh-CN" sz="1600" dirty="0">
                <a:solidFill>
                  <a:schemeClr val="tx1">
                    <a:lumMod val="75000"/>
                    <a:lumOff val="25000"/>
                  </a:schemeClr>
                </a:solidFill>
                <a:cs typeface="+mn-ea"/>
                <a:sym typeface="+mn-lt"/>
              </a:endParaRPr>
            </a:p>
          </p:txBody>
        </p:sp>
      </p:grpSp>
      <p:grpSp>
        <p:nvGrpSpPr>
          <p:cNvPr id="63" name="组合 62"/>
          <p:cNvGrpSpPr/>
          <p:nvPr/>
        </p:nvGrpSpPr>
        <p:grpSpPr>
          <a:xfrm>
            <a:off x="9184811" y="3092048"/>
            <a:ext cx="2527764" cy="1283970"/>
            <a:chOff x="768928" y="2702676"/>
            <a:chExt cx="2527764" cy="1283970"/>
          </a:xfrm>
        </p:grpSpPr>
        <p:sp>
          <p:nvSpPr>
            <p:cNvPr id="64" name="iS1íḍê"/>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二步</a:t>
              </a:r>
              <a:endParaRPr lang="en-US" altLang="zh-CN" sz="2000" b="1" dirty="0">
                <a:solidFill>
                  <a:schemeClr val="accent1"/>
                </a:solidFill>
                <a:cs typeface="+mn-ea"/>
                <a:sym typeface="+mn-lt"/>
              </a:endParaRPr>
            </a:p>
          </p:txBody>
        </p:sp>
        <p:sp>
          <p:nvSpPr>
            <p:cNvPr id="65" name="ï$1idé"/>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sz="1600" dirty="0">
                  <a:solidFill>
                    <a:schemeClr val="tx1">
                      <a:lumMod val="75000"/>
                      <a:lumOff val="25000"/>
                    </a:schemeClr>
                  </a:solidFill>
                  <a:cs typeface="+mn-ea"/>
                  <a:sym typeface="+mn-lt"/>
                </a:rPr>
                <a:t>创建</a:t>
              </a:r>
              <a:r>
                <a:rPr lang="en-US" altLang="zh-CN" sz="1600" dirty="0">
                  <a:solidFill>
                    <a:schemeClr val="tx1">
                      <a:lumMod val="75000"/>
                      <a:lumOff val="25000"/>
                    </a:schemeClr>
                  </a:solidFill>
                  <a:cs typeface="+mn-ea"/>
                  <a:sym typeface="+mn-lt"/>
                </a:rPr>
                <a:t>Scene</a:t>
              </a:r>
              <a:r>
                <a:rPr lang="zh-CN" altLang="en-US" sz="1600" dirty="0">
                  <a:solidFill>
                    <a:schemeClr val="tx1">
                      <a:lumMod val="75000"/>
                      <a:lumOff val="25000"/>
                    </a:schemeClr>
                  </a:solidFill>
                  <a:cs typeface="+mn-ea"/>
                  <a:sym typeface="+mn-lt"/>
                </a:rPr>
                <a:t>类或者其子类，在其</a:t>
              </a:r>
              <a:r>
                <a:rPr lang="en-US" altLang="zh-CN" sz="1600" dirty="0">
                  <a:solidFill>
                    <a:schemeClr val="tx1">
                      <a:lumMod val="75000"/>
                      <a:lumOff val="25000"/>
                    </a:schemeClr>
                  </a:solidFill>
                  <a:cs typeface="+mn-ea"/>
                  <a:sym typeface="+mn-lt"/>
                </a:rPr>
                <a:t>construct</a:t>
              </a:r>
              <a:r>
                <a:rPr lang="zh-CN" altLang="en-US" sz="1600" dirty="0">
                  <a:solidFill>
                    <a:schemeClr val="tx1">
                      <a:lumMod val="75000"/>
                      <a:lumOff val="25000"/>
                    </a:schemeClr>
                  </a:solidFill>
                  <a:cs typeface="+mn-ea"/>
                  <a:sym typeface="+mn-lt"/>
                </a:rPr>
                <a:t>方法中实例化之前的物体类；</a:t>
              </a:r>
              <a:endParaRPr lang="en-US" altLang="zh-CN" sz="1600" dirty="0">
                <a:solidFill>
                  <a:schemeClr val="tx1">
                    <a:lumMod val="75000"/>
                    <a:lumOff val="25000"/>
                  </a:schemeClr>
                </a:solidFill>
                <a:cs typeface="+mn-ea"/>
                <a:sym typeface="+mn-lt"/>
              </a:endParaRPr>
            </a:p>
          </p:txBody>
        </p:sp>
      </p:grpSp>
      <p:grpSp>
        <p:nvGrpSpPr>
          <p:cNvPr id="66" name="组合 65"/>
          <p:cNvGrpSpPr/>
          <p:nvPr/>
        </p:nvGrpSpPr>
        <p:grpSpPr>
          <a:xfrm>
            <a:off x="9184811" y="1467372"/>
            <a:ext cx="2527764" cy="1283970"/>
            <a:chOff x="768928" y="2702676"/>
            <a:chExt cx="2527764" cy="1283970"/>
          </a:xfrm>
        </p:grpSpPr>
        <p:sp>
          <p:nvSpPr>
            <p:cNvPr id="67" name="iS1íḍê"/>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三步</a:t>
              </a:r>
              <a:endParaRPr lang="en-US" altLang="zh-CN" sz="2000" b="1" dirty="0">
                <a:solidFill>
                  <a:schemeClr val="accent1"/>
                </a:solidFill>
                <a:cs typeface="+mn-ea"/>
                <a:sym typeface="+mn-lt"/>
              </a:endParaRPr>
            </a:p>
          </p:txBody>
        </p:sp>
        <p:sp>
          <p:nvSpPr>
            <p:cNvPr id="68" name="ï$1idé"/>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sz="1600" dirty="0">
                  <a:solidFill>
                    <a:schemeClr val="tx1">
                      <a:lumMod val="75000"/>
                      <a:lumOff val="25000"/>
                    </a:schemeClr>
                  </a:solidFill>
                  <a:cs typeface="+mn-ea"/>
                  <a:sym typeface="+mn-lt"/>
                </a:rPr>
                <a:t>调用</a:t>
              </a:r>
              <a:r>
                <a:rPr lang="en-US" altLang="zh-CN" sz="1600" dirty="0">
                  <a:solidFill>
                    <a:schemeClr val="tx1">
                      <a:lumMod val="75000"/>
                      <a:lumOff val="25000"/>
                    </a:schemeClr>
                  </a:solidFill>
                  <a:cs typeface="+mn-ea"/>
                  <a:sym typeface="+mn-lt"/>
                </a:rPr>
                <a:t>play</a:t>
              </a:r>
              <a:r>
                <a:rPr lang="zh-CN" altLang="en-US" sz="1600" dirty="0">
                  <a:solidFill>
                    <a:schemeClr val="tx1">
                      <a:lumMod val="75000"/>
                      <a:lumOff val="25000"/>
                    </a:schemeClr>
                  </a:solidFill>
                  <a:cs typeface="+mn-ea"/>
                  <a:sym typeface="+mn-lt"/>
                </a:rPr>
                <a:t>方法控制需要渲染的物体的动画；</a:t>
              </a:r>
              <a:endParaRPr lang="en-US" altLang="zh-CN" sz="1600" dirty="0">
                <a:solidFill>
                  <a:schemeClr val="tx1">
                    <a:lumMod val="75000"/>
                    <a:lumOff val="25000"/>
                  </a:schemeClr>
                </a:solidFill>
                <a:cs typeface="+mn-ea"/>
                <a:sym typeface="+mn-lt"/>
              </a:endParaRPr>
            </a:p>
          </p:txBody>
        </p:sp>
      </p:grpSp>
      <p:sp>
        <p:nvSpPr>
          <p:cNvPr id="70" name="任意多边形: 形状 69"/>
          <p:cNvSpPr/>
          <p:nvPr/>
        </p:nvSpPr>
        <p:spPr>
          <a:xfrm flipV="1">
            <a:off x="6116320" y="1600200"/>
            <a:ext cx="3078480" cy="45720"/>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1" name="任意多边形: 形状 70"/>
          <p:cNvSpPr/>
          <p:nvPr/>
        </p:nvSpPr>
        <p:spPr>
          <a:xfrm flipV="1">
            <a:off x="7865744" y="3225799"/>
            <a:ext cx="1329055" cy="45719"/>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2" name="任意多边形: 形状 71"/>
          <p:cNvSpPr/>
          <p:nvPr/>
        </p:nvSpPr>
        <p:spPr>
          <a:xfrm flipV="1">
            <a:off x="7900035" y="4759959"/>
            <a:ext cx="1294765" cy="116840"/>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87" name="组合 86"/>
          <p:cNvGrpSpPr/>
          <p:nvPr/>
        </p:nvGrpSpPr>
        <p:grpSpPr>
          <a:xfrm>
            <a:off x="325120" y="5108448"/>
            <a:ext cx="3570224" cy="713618"/>
            <a:chOff x="325120" y="5108448"/>
            <a:chExt cx="3570224" cy="713618"/>
          </a:xfrm>
        </p:grpSpPr>
        <p:sp>
          <p:nvSpPr>
            <p:cNvPr id="85" name="箭头: 五边形 84"/>
            <p:cNvSpPr/>
            <p:nvPr/>
          </p:nvSpPr>
          <p:spPr>
            <a:xfrm>
              <a:off x="325120" y="5323840"/>
              <a:ext cx="3570224" cy="498226"/>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lang="zh-CN" altLang="en-US" sz="2400" b="1" dirty="0">
                  <a:cs typeface="+mn-ea"/>
                  <a:sym typeface="+mn-lt"/>
                </a:rPr>
                <a:t>面向对象的编程方式</a:t>
              </a:r>
              <a:endParaRPr lang="en-US" sz="2400" b="1" dirty="0">
                <a:cs typeface="+mn-ea"/>
                <a:sym typeface="+mn-lt"/>
              </a:endParaRPr>
            </a:p>
          </p:txBody>
        </p:sp>
        <p:sp>
          <p:nvSpPr>
            <p:cNvPr id="86" name="直角三角形 85"/>
            <p:cNvSpPr/>
            <p:nvPr/>
          </p:nvSpPr>
          <p:spPr>
            <a:xfrm flipH="1">
              <a:off x="325120" y="5108448"/>
              <a:ext cx="190818" cy="213360"/>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err="1"/>
              <a:t>Manim</a:t>
            </a:r>
            <a:r>
              <a:rPr lang="zh-CN" altLang="en-US" dirty="0"/>
              <a:t>库的实例演示</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11</a:t>
            </a:fld>
            <a:endParaRPr lang="en-US" dirty="0">
              <a:solidFill>
                <a:srgbClr val="000000">
                  <a:tint val="75000"/>
                </a:srgbClr>
              </a:solidFill>
            </a:endParaRPr>
          </a:p>
        </p:txBody>
      </p:sp>
      <p:pic>
        <p:nvPicPr>
          <p:cNvPr id="5" name="图片 4">
            <a:extLst>
              <a:ext uri="{FF2B5EF4-FFF2-40B4-BE49-F238E27FC236}">
                <a16:creationId xmlns:a16="http://schemas.microsoft.com/office/drawing/2014/main" id="{51993BF6-82C5-1527-2496-3D044645E22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29626" b="18483"/>
          <a:stretch/>
        </p:blipFill>
        <p:spPr>
          <a:xfrm>
            <a:off x="8128199" y="1916656"/>
            <a:ext cx="3749742" cy="2877503"/>
          </a:xfrm>
          <a:prstGeom prst="rect">
            <a:avLst/>
          </a:prstGeom>
          <a:noFill/>
          <a:ln>
            <a:noFill/>
          </a:ln>
        </p:spPr>
      </p:pic>
      <p:pic>
        <p:nvPicPr>
          <p:cNvPr id="7" name="bandicam 2022-06-06 18-52-11-200">
            <a:hlinkClick r:id="" action="ppaction://media"/>
            <a:extLst>
              <a:ext uri="{FF2B5EF4-FFF2-40B4-BE49-F238E27FC236}">
                <a16:creationId xmlns:a16="http://schemas.microsoft.com/office/drawing/2014/main" id="{C7C2F882-E062-DBC2-41C1-44F40E2FBBA3}"/>
              </a:ext>
            </a:extLst>
          </p:cNvPr>
          <p:cNvPicPr>
            <a:picLocks noChangeAspect="1"/>
          </p:cNvPicPr>
          <p:nvPr>
            <a:videoFile r:link="rId1"/>
            <p:extLst>
              <p:ext uri="{DAA4B4D4-6D71-4841-9C94-3DE7FCFB9230}">
                <p14:media xmlns:p14="http://schemas.microsoft.com/office/powerpoint/2010/main" r:embed="rId2">
                  <p14:trim st="1302"/>
                </p14:media>
              </p:ext>
            </p:extLst>
          </p:nvPr>
        </p:nvPicPr>
        <p:blipFill>
          <a:blip r:embed="rId5"/>
          <a:stretch>
            <a:fillRect/>
          </a:stretch>
        </p:blipFill>
        <p:spPr>
          <a:xfrm>
            <a:off x="238645" y="1636295"/>
            <a:ext cx="7431578" cy="358541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29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err="1">
                <a:solidFill>
                  <a:prstClr val="black"/>
                </a:solidFill>
                <a:latin typeface="Arial" panose="020B0604020202020204"/>
                <a:ea typeface="微软雅黑" panose="020B0503020204020204" charset="-122"/>
              </a:rPr>
              <a:t>Manim</a:t>
            </a:r>
            <a:r>
              <a:rPr lang="zh-CN" altLang="en-US" sz="2800" dirty="0">
                <a:solidFill>
                  <a:prstClr val="black"/>
                </a:solidFill>
                <a:latin typeface="Arial" panose="020B0604020202020204"/>
                <a:ea typeface="微软雅黑" panose="020B0503020204020204" charset="-122"/>
              </a:rPr>
              <a:t>框架下的证据决策树的动画设计</a:t>
            </a:r>
            <a:endParaRPr lang="zh-CN" alt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12</a:t>
            </a:fld>
            <a:endParaRPr lang="en-US" dirty="0">
              <a:solidFill>
                <a:srgbClr val="000000">
                  <a:tint val="75000"/>
                </a:srgbClr>
              </a:solidFill>
            </a:endParaRPr>
          </a:p>
        </p:txBody>
      </p:sp>
      <p:grpSp>
        <p:nvGrpSpPr>
          <p:cNvPr id="4" name="组合 3">
            <a:extLst>
              <a:ext uri="{FF2B5EF4-FFF2-40B4-BE49-F238E27FC236}">
                <a16:creationId xmlns:a16="http://schemas.microsoft.com/office/drawing/2014/main" id="{D231145F-4E99-CACF-1EA7-E34907226110}"/>
              </a:ext>
            </a:extLst>
          </p:cNvPr>
          <p:cNvGrpSpPr/>
          <p:nvPr/>
        </p:nvGrpSpPr>
        <p:grpSpPr>
          <a:xfrm>
            <a:off x="612742" y="1168924"/>
            <a:ext cx="10346971" cy="4601116"/>
            <a:chOff x="1219587" y="1466025"/>
            <a:chExt cx="9740126" cy="4305833"/>
          </a:xfrm>
        </p:grpSpPr>
        <p:sp>
          <p:nvSpPr>
            <p:cNvPr id="35" name="íşļíḍé">
              <a:extLst>
                <a:ext uri="{FF2B5EF4-FFF2-40B4-BE49-F238E27FC236}">
                  <a16:creationId xmlns:a16="http://schemas.microsoft.com/office/drawing/2014/main" id="{D0F7B7CD-A6F2-243F-B7D7-C6CCF14B5EA2}"/>
                </a:ext>
              </a:extLst>
            </p:cNvPr>
            <p:cNvSpPr/>
            <p:nvPr/>
          </p:nvSpPr>
          <p:spPr>
            <a:xfrm>
              <a:off x="4802408" y="3240836"/>
              <a:ext cx="2531024" cy="2531022"/>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endParaRPr lang="zh-CN" altLang="en-US" sz="2400" b="1" dirty="0">
                <a:solidFill>
                  <a:schemeClr val="bg1"/>
                </a:solidFill>
              </a:endParaRPr>
            </a:p>
          </p:txBody>
        </p:sp>
        <p:sp>
          <p:nvSpPr>
            <p:cNvPr id="7" name="ïs1idê">
              <a:extLst>
                <a:ext uri="{FF2B5EF4-FFF2-40B4-BE49-F238E27FC236}">
                  <a16:creationId xmlns:a16="http://schemas.microsoft.com/office/drawing/2014/main" id="{E2978D4D-AB67-16AB-FD52-2B4A93D7C735}"/>
                </a:ext>
              </a:extLst>
            </p:cNvPr>
            <p:cNvSpPr/>
            <p:nvPr/>
          </p:nvSpPr>
          <p:spPr>
            <a:xfrm>
              <a:off x="5832094" y="4257856"/>
              <a:ext cx="471652" cy="517008"/>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chemeClr val="tx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10" name="iṧḻïďè">
              <a:extLst>
                <a:ext uri="{FF2B5EF4-FFF2-40B4-BE49-F238E27FC236}">
                  <a16:creationId xmlns:a16="http://schemas.microsoft.com/office/drawing/2014/main" id="{23866387-8081-9699-88E2-2A01FF517FE9}"/>
                </a:ext>
              </a:extLst>
            </p:cNvPr>
            <p:cNvGrpSpPr/>
            <p:nvPr/>
          </p:nvGrpSpPr>
          <p:grpSpPr>
            <a:xfrm>
              <a:off x="1339817" y="4100185"/>
              <a:ext cx="2171758" cy="1502238"/>
              <a:chOff x="1280421" y="3325080"/>
              <a:chExt cx="2171758" cy="1502238"/>
            </a:xfrm>
          </p:grpSpPr>
          <p:sp>
            <p:nvSpPr>
              <p:cNvPr id="33" name="iṧ1îḑé">
                <a:extLst>
                  <a:ext uri="{FF2B5EF4-FFF2-40B4-BE49-F238E27FC236}">
                    <a16:creationId xmlns:a16="http://schemas.microsoft.com/office/drawing/2014/main" id="{8BB62DC8-68EF-44C3-B0A0-DAE129144767}"/>
                  </a:ext>
                </a:extLst>
              </p:cNvPr>
              <p:cNvSpPr txBox="1"/>
              <p:nvPr/>
            </p:nvSpPr>
            <p:spPr>
              <a:xfrm>
                <a:off x="1280421" y="3325080"/>
                <a:ext cx="2171757" cy="374432"/>
              </a:xfrm>
              <a:prstGeom prst="rect">
                <a:avLst/>
              </a:prstGeom>
              <a:noFill/>
            </p:spPr>
            <p:txBody>
              <a:bodyPr wrap="square" rtlCol="0">
                <a:spAutoFit/>
              </a:bodyPr>
              <a:lstStyle/>
              <a:p>
                <a:pPr algn="ctr"/>
                <a:r>
                  <a:rPr lang="zh-CN" altLang="en-US" sz="2000" b="1" dirty="0">
                    <a:solidFill>
                      <a:schemeClr val="accent1"/>
                    </a:solidFill>
                  </a:rPr>
                  <a:t>动画渲染程序编写</a:t>
                </a:r>
                <a:endParaRPr lang="en-US" altLang="zh-CN" sz="2000" b="1" dirty="0">
                  <a:solidFill>
                    <a:schemeClr val="accent1"/>
                  </a:solidFill>
                </a:endParaRPr>
              </a:p>
            </p:txBody>
          </p:sp>
          <p:sp>
            <p:nvSpPr>
              <p:cNvPr id="34" name="ïṡḷîḍé">
                <a:extLst>
                  <a:ext uri="{FF2B5EF4-FFF2-40B4-BE49-F238E27FC236}">
                    <a16:creationId xmlns:a16="http://schemas.microsoft.com/office/drawing/2014/main" id="{64F2317F-40B7-78D8-6CD3-C83EA837DFC1}"/>
                  </a:ext>
                </a:extLst>
              </p:cNvPr>
              <p:cNvSpPr txBox="1"/>
              <p:nvPr/>
            </p:nvSpPr>
            <p:spPr>
              <a:xfrm>
                <a:off x="1280422" y="3658718"/>
                <a:ext cx="2171757" cy="1168600"/>
              </a:xfrm>
              <a:prstGeom prst="rect">
                <a:avLst/>
              </a:prstGeom>
              <a:noFill/>
            </p:spPr>
            <p:txBody>
              <a:bodyPr wrap="square" rtlCol="0">
                <a:spAutoFit/>
              </a:bodyPr>
              <a:lstStyle/>
              <a:p>
                <a:pPr algn="just">
                  <a:lnSpc>
                    <a:spcPct val="120000"/>
                  </a:lnSpc>
                </a:pPr>
                <a:r>
                  <a:rPr lang="zh-CN" altLang="en-US" sz="1600" dirty="0">
                    <a:solidFill>
                      <a:schemeClr val="tx1">
                        <a:lumMod val="75000"/>
                        <a:lumOff val="25000"/>
                      </a:schemeClr>
                    </a:solidFill>
                  </a:rPr>
                  <a:t>编写展示证据决策树所需要的物件的渲染类、动画类和场景类，设计类的架构关系。</a:t>
                </a:r>
              </a:p>
            </p:txBody>
          </p:sp>
        </p:grpSp>
        <p:sp>
          <p:nvSpPr>
            <p:cNvPr id="31" name="î$ļïḓé">
              <a:extLst>
                <a:ext uri="{FF2B5EF4-FFF2-40B4-BE49-F238E27FC236}">
                  <a16:creationId xmlns:a16="http://schemas.microsoft.com/office/drawing/2014/main" id="{F8E82835-6221-2F2B-B379-46786A20D03E}"/>
                </a:ext>
              </a:extLst>
            </p:cNvPr>
            <p:cNvSpPr txBox="1"/>
            <p:nvPr/>
          </p:nvSpPr>
          <p:spPr>
            <a:xfrm>
              <a:off x="8787955" y="4103313"/>
              <a:ext cx="2171757" cy="288025"/>
            </a:xfrm>
            <a:prstGeom prst="rect">
              <a:avLst/>
            </a:prstGeom>
            <a:noFill/>
          </p:spPr>
          <p:txBody>
            <a:bodyPr wrap="square" rtlCol="0">
              <a:spAutoFit/>
            </a:bodyPr>
            <a:lstStyle/>
            <a:p>
              <a:pPr algn="ctr"/>
              <a:endParaRPr lang="en-US" altLang="zh-CN" sz="1400" b="1" dirty="0"/>
            </a:p>
          </p:txBody>
        </p:sp>
        <p:sp>
          <p:nvSpPr>
            <p:cNvPr id="12" name="îš1îďè">
              <a:extLst>
                <a:ext uri="{FF2B5EF4-FFF2-40B4-BE49-F238E27FC236}">
                  <a16:creationId xmlns:a16="http://schemas.microsoft.com/office/drawing/2014/main" id="{1ECF72B6-4B4D-1B68-3177-C02753559A1A}"/>
                </a:ext>
              </a:extLst>
            </p:cNvPr>
            <p:cNvSpPr/>
            <p:nvPr/>
          </p:nvSpPr>
          <p:spPr>
            <a:xfrm>
              <a:off x="3875444" y="1466025"/>
              <a:ext cx="2531024" cy="2531022"/>
            </a:xfrm>
            <a:prstGeom prst="ellipse">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endParaRPr lang="zh-CN" altLang="en-US" sz="2400" b="1" dirty="0">
                <a:solidFill>
                  <a:schemeClr val="bg1"/>
                </a:solidFill>
              </a:endParaRPr>
            </a:p>
          </p:txBody>
        </p:sp>
        <p:grpSp>
          <p:nvGrpSpPr>
            <p:cNvPr id="13" name="îşļïde">
              <a:extLst>
                <a:ext uri="{FF2B5EF4-FFF2-40B4-BE49-F238E27FC236}">
                  <a16:creationId xmlns:a16="http://schemas.microsoft.com/office/drawing/2014/main" id="{6297083C-8084-BC01-7942-D66DBE5FE06B}"/>
                </a:ext>
              </a:extLst>
            </p:cNvPr>
            <p:cNvGrpSpPr/>
            <p:nvPr/>
          </p:nvGrpSpPr>
          <p:grpSpPr>
            <a:xfrm>
              <a:off x="3761814" y="2618989"/>
              <a:ext cx="225094" cy="225094"/>
              <a:chOff x="8250706" y="4217117"/>
              <a:chExt cx="225094" cy="225094"/>
            </a:xfrm>
          </p:grpSpPr>
          <p:sp>
            <p:nvSpPr>
              <p:cNvPr id="29" name="ï$ľíďê">
                <a:extLst>
                  <a:ext uri="{FF2B5EF4-FFF2-40B4-BE49-F238E27FC236}">
                    <a16:creationId xmlns:a16="http://schemas.microsoft.com/office/drawing/2014/main" id="{E8B745EC-F251-5CDE-5FC0-12DE31D5608B}"/>
                  </a:ext>
                </a:extLst>
              </p:cNvPr>
              <p:cNvSpPr/>
              <p:nvPr/>
            </p:nvSpPr>
            <p:spPr>
              <a:xfrm>
                <a:off x="8250706" y="4217117"/>
                <a:ext cx="225094" cy="225094"/>
              </a:xfrm>
              <a:prstGeom prst="ellipse">
                <a:avLst/>
              </a:prstGeom>
              <a:solidFill>
                <a:schemeClr val="bg1">
                  <a:lumMod val="95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fontScale="25000" lnSpcReduction="20000"/>
              </a:bodyPr>
              <a:lstStyle/>
              <a:p>
                <a:pPr algn="ctr" defTabSz="913765"/>
                <a:endParaRPr lang="zh-CN" altLang="en-US" sz="2400" b="1">
                  <a:solidFill>
                    <a:schemeClr val="bg1"/>
                  </a:solidFill>
                </a:endParaRPr>
              </a:p>
            </p:txBody>
          </p:sp>
          <p:sp>
            <p:nvSpPr>
              <p:cNvPr id="30" name="îšliḋê">
                <a:extLst>
                  <a:ext uri="{FF2B5EF4-FFF2-40B4-BE49-F238E27FC236}">
                    <a16:creationId xmlns:a16="http://schemas.microsoft.com/office/drawing/2014/main" id="{30EA54BA-D998-B153-161C-DAC5329B2D63}"/>
                  </a:ext>
                </a:extLst>
              </p:cNvPr>
              <p:cNvSpPr/>
              <p:nvPr/>
            </p:nvSpPr>
            <p:spPr>
              <a:xfrm rot="5400000">
                <a:off x="8343879" y="4306805"/>
                <a:ext cx="53034"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4" name="ïś1îde">
              <a:extLst>
                <a:ext uri="{FF2B5EF4-FFF2-40B4-BE49-F238E27FC236}">
                  <a16:creationId xmlns:a16="http://schemas.microsoft.com/office/drawing/2014/main" id="{6867BD8C-3B32-2243-C2FC-94826ED576FC}"/>
                </a:ext>
              </a:extLst>
            </p:cNvPr>
            <p:cNvSpPr/>
            <p:nvPr/>
          </p:nvSpPr>
          <p:spPr>
            <a:xfrm>
              <a:off x="4882452" y="2516329"/>
              <a:ext cx="517008" cy="430414"/>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chemeClr val="tx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15" name="isḻíďé">
              <a:extLst>
                <a:ext uri="{FF2B5EF4-FFF2-40B4-BE49-F238E27FC236}">
                  <a16:creationId xmlns:a16="http://schemas.microsoft.com/office/drawing/2014/main" id="{41516A98-9E44-5CF8-01C3-2E43BC917094}"/>
                </a:ext>
              </a:extLst>
            </p:cNvPr>
            <p:cNvGrpSpPr/>
            <p:nvPr/>
          </p:nvGrpSpPr>
          <p:grpSpPr>
            <a:xfrm>
              <a:off x="1219587" y="2301984"/>
              <a:ext cx="2171758" cy="1415831"/>
              <a:chOff x="1280421" y="3325080"/>
              <a:chExt cx="2171758" cy="1415831"/>
            </a:xfrm>
          </p:grpSpPr>
          <p:sp>
            <p:nvSpPr>
              <p:cNvPr id="27" name="íṧ1íḍé">
                <a:extLst>
                  <a:ext uri="{FF2B5EF4-FFF2-40B4-BE49-F238E27FC236}">
                    <a16:creationId xmlns:a16="http://schemas.microsoft.com/office/drawing/2014/main" id="{99691BCA-DF49-D860-85DF-FAD5F31D4FB3}"/>
                  </a:ext>
                </a:extLst>
              </p:cNvPr>
              <p:cNvSpPr txBox="1"/>
              <p:nvPr/>
            </p:nvSpPr>
            <p:spPr>
              <a:xfrm>
                <a:off x="1280421" y="3325080"/>
                <a:ext cx="2171757" cy="374433"/>
              </a:xfrm>
              <a:prstGeom prst="rect">
                <a:avLst/>
              </a:prstGeom>
              <a:noFill/>
            </p:spPr>
            <p:txBody>
              <a:bodyPr wrap="square" rtlCol="0">
                <a:spAutoFit/>
              </a:bodyPr>
              <a:lstStyle/>
              <a:p>
                <a:pPr algn="ctr"/>
                <a:r>
                  <a:rPr lang="zh-CN" altLang="en-US" sz="2000" b="1" dirty="0"/>
                  <a:t>证据决策树的移植</a:t>
                </a:r>
                <a:endParaRPr lang="en-US" altLang="zh-CN" sz="2000" b="1" dirty="0"/>
              </a:p>
            </p:txBody>
          </p:sp>
          <p:sp>
            <p:nvSpPr>
              <p:cNvPr id="28" name="íṧ1ídé">
                <a:extLst>
                  <a:ext uri="{FF2B5EF4-FFF2-40B4-BE49-F238E27FC236}">
                    <a16:creationId xmlns:a16="http://schemas.microsoft.com/office/drawing/2014/main" id="{EB19897F-5B87-1FDF-C113-EACB63403074}"/>
                  </a:ext>
                </a:extLst>
              </p:cNvPr>
              <p:cNvSpPr txBox="1"/>
              <p:nvPr/>
            </p:nvSpPr>
            <p:spPr>
              <a:xfrm>
                <a:off x="1280422" y="3658718"/>
                <a:ext cx="2171757" cy="1082193"/>
              </a:xfrm>
              <a:prstGeom prst="rect">
                <a:avLst/>
              </a:prstGeom>
              <a:noFill/>
            </p:spPr>
            <p:txBody>
              <a:bodyPr wrap="square" rtlCol="0">
                <a:spAutoFit/>
              </a:bodyPr>
              <a:lstStyle/>
              <a:p>
                <a:pPr>
                  <a:lnSpc>
                    <a:spcPct val="150000"/>
                  </a:lnSpc>
                </a:pPr>
                <a:r>
                  <a:rPr lang="zh-CN" altLang="en-US" sz="1600" dirty="0"/>
                  <a:t>通过原型模式，传递训练完成的树模型到绘图类。</a:t>
                </a:r>
                <a:endParaRPr lang="en-US" altLang="zh-CN" sz="1600" dirty="0"/>
              </a:p>
            </p:txBody>
          </p:sp>
        </p:grpSp>
        <p:sp>
          <p:nvSpPr>
            <p:cNvPr id="16" name="i$ļîḋé">
              <a:extLst>
                <a:ext uri="{FF2B5EF4-FFF2-40B4-BE49-F238E27FC236}">
                  <a16:creationId xmlns:a16="http://schemas.microsoft.com/office/drawing/2014/main" id="{35F12967-94D1-21F1-FEEC-2603E5207292}"/>
                </a:ext>
              </a:extLst>
            </p:cNvPr>
            <p:cNvSpPr/>
            <p:nvPr/>
          </p:nvSpPr>
          <p:spPr>
            <a:xfrm>
              <a:off x="5891625" y="1498339"/>
              <a:ext cx="2531024" cy="2531022"/>
            </a:xfrm>
            <a:prstGeom prst="ellipse">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endParaRPr lang="zh-CN" altLang="en-US" sz="2400" b="1" dirty="0">
                <a:solidFill>
                  <a:schemeClr val="bg1"/>
                </a:solidFill>
              </a:endParaRPr>
            </a:p>
          </p:txBody>
        </p:sp>
        <p:sp>
          <p:nvSpPr>
            <p:cNvPr id="17" name="iṥļíḓé">
              <a:extLst>
                <a:ext uri="{FF2B5EF4-FFF2-40B4-BE49-F238E27FC236}">
                  <a16:creationId xmlns:a16="http://schemas.microsoft.com/office/drawing/2014/main" id="{1597D633-1DD1-4FE0-6016-BE85CC933668}"/>
                </a:ext>
              </a:extLst>
            </p:cNvPr>
            <p:cNvSpPr/>
            <p:nvPr/>
          </p:nvSpPr>
          <p:spPr>
            <a:xfrm>
              <a:off x="6932172" y="2584712"/>
              <a:ext cx="449930" cy="358276"/>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chemeClr val="tx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fontScale="9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400" b="1" dirty="0">
                <a:solidFill>
                  <a:schemeClr val="bg1"/>
                </a:solidFill>
              </a:endParaRPr>
            </a:p>
          </p:txBody>
        </p:sp>
        <p:grpSp>
          <p:nvGrpSpPr>
            <p:cNvPr id="18" name="i$ḻíḓe">
              <a:extLst>
                <a:ext uri="{FF2B5EF4-FFF2-40B4-BE49-F238E27FC236}">
                  <a16:creationId xmlns:a16="http://schemas.microsoft.com/office/drawing/2014/main" id="{F566BF30-330E-6BE9-9D07-CAB60779587B}"/>
                </a:ext>
              </a:extLst>
            </p:cNvPr>
            <p:cNvGrpSpPr/>
            <p:nvPr/>
          </p:nvGrpSpPr>
          <p:grpSpPr>
            <a:xfrm>
              <a:off x="8787955" y="2334299"/>
              <a:ext cx="2171758" cy="1761460"/>
              <a:chOff x="1280421" y="3325080"/>
              <a:chExt cx="2171758" cy="1761460"/>
            </a:xfrm>
          </p:grpSpPr>
          <p:sp>
            <p:nvSpPr>
              <p:cNvPr id="25" name="iṩlïde">
                <a:extLst>
                  <a:ext uri="{FF2B5EF4-FFF2-40B4-BE49-F238E27FC236}">
                    <a16:creationId xmlns:a16="http://schemas.microsoft.com/office/drawing/2014/main" id="{F3D7EED7-D85C-91B1-F768-DB826610174C}"/>
                  </a:ext>
                </a:extLst>
              </p:cNvPr>
              <p:cNvSpPr txBox="1"/>
              <p:nvPr/>
            </p:nvSpPr>
            <p:spPr>
              <a:xfrm>
                <a:off x="1280421" y="3325080"/>
                <a:ext cx="2171757" cy="374432"/>
              </a:xfrm>
              <a:prstGeom prst="rect">
                <a:avLst/>
              </a:prstGeom>
              <a:noFill/>
            </p:spPr>
            <p:txBody>
              <a:bodyPr wrap="square" rtlCol="0">
                <a:spAutoFit/>
              </a:bodyPr>
              <a:lstStyle/>
              <a:p>
                <a:pPr algn="ctr"/>
                <a:r>
                  <a:rPr lang="zh-CN" altLang="en-US" sz="2000" b="1" dirty="0"/>
                  <a:t>动画设计</a:t>
                </a:r>
                <a:endParaRPr lang="en-US" altLang="zh-CN" sz="2000" b="1" dirty="0"/>
              </a:p>
            </p:txBody>
          </p:sp>
          <p:sp>
            <p:nvSpPr>
              <p:cNvPr id="26" name="ïśľîďé">
                <a:extLst>
                  <a:ext uri="{FF2B5EF4-FFF2-40B4-BE49-F238E27FC236}">
                    <a16:creationId xmlns:a16="http://schemas.microsoft.com/office/drawing/2014/main" id="{C2F4ABDD-22F5-3787-9A3F-AD6BF4863E4A}"/>
                  </a:ext>
                </a:extLst>
              </p:cNvPr>
              <p:cNvSpPr txBox="1"/>
              <p:nvPr/>
            </p:nvSpPr>
            <p:spPr>
              <a:xfrm>
                <a:off x="1280422" y="3658718"/>
                <a:ext cx="2171757" cy="1427822"/>
              </a:xfrm>
              <a:prstGeom prst="rect">
                <a:avLst/>
              </a:prstGeom>
              <a:noFill/>
            </p:spPr>
            <p:txBody>
              <a:bodyPr wrap="square" rtlCol="0">
                <a:spAutoFit/>
              </a:bodyPr>
              <a:lstStyle/>
              <a:p>
                <a:pPr>
                  <a:lnSpc>
                    <a:spcPct val="150000"/>
                  </a:lnSpc>
                </a:pPr>
                <a:r>
                  <a:rPr lang="zh-CN" altLang="en-US" sz="1600" dirty="0"/>
                  <a:t>动画分为三部分：</a:t>
                </a:r>
                <a:endParaRPr lang="en-US" altLang="zh-CN" sz="1600" dirty="0"/>
              </a:p>
              <a:p>
                <a:pPr marL="342900" indent="-342900">
                  <a:lnSpc>
                    <a:spcPct val="150000"/>
                  </a:lnSpc>
                  <a:buFont typeface="+mj-lt"/>
                  <a:buAutoNum type="arabicPeriod"/>
                </a:pPr>
                <a:r>
                  <a:rPr lang="zh-CN" altLang="en-US" sz="1600" dirty="0"/>
                  <a:t>传统决策树介绍；</a:t>
                </a:r>
                <a:endParaRPr lang="en-US" altLang="zh-CN" sz="1600" dirty="0"/>
              </a:p>
              <a:p>
                <a:pPr marL="342900" indent="-342900">
                  <a:lnSpc>
                    <a:spcPct val="150000"/>
                  </a:lnSpc>
                  <a:buFont typeface="+mj-lt"/>
                  <a:buAutoNum type="arabicPeriod"/>
                </a:pPr>
                <a:r>
                  <a:rPr lang="zh-CN" altLang="en-US" sz="1600" dirty="0"/>
                  <a:t>证据理论基础介绍；</a:t>
                </a:r>
                <a:endParaRPr lang="en-US" altLang="zh-CN" sz="1600" dirty="0"/>
              </a:p>
              <a:p>
                <a:pPr marL="342900" indent="-342900">
                  <a:lnSpc>
                    <a:spcPct val="150000"/>
                  </a:lnSpc>
                  <a:buFont typeface="+mj-lt"/>
                  <a:buAutoNum type="arabicPeriod"/>
                </a:pPr>
                <a:r>
                  <a:rPr lang="zh-CN" altLang="en-US" sz="1600" dirty="0"/>
                  <a:t>证据决策树的构造。</a:t>
                </a:r>
                <a:endParaRPr lang="en-US" altLang="zh-CN" sz="1600" dirty="0"/>
              </a:p>
            </p:txBody>
          </p:sp>
        </p:grpSp>
        <p:grpSp>
          <p:nvGrpSpPr>
            <p:cNvPr id="19" name="îṩlîḍê">
              <a:extLst>
                <a:ext uri="{FF2B5EF4-FFF2-40B4-BE49-F238E27FC236}">
                  <a16:creationId xmlns:a16="http://schemas.microsoft.com/office/drawing/2014/main" id="{C00DF1BC-A0B0-AA19-51F0-0DA783B7B050}"/>
                </a:ext>
              </a:extLst>
            </p:cNvPr>
            <p:cNvGrpSpPr/>
            <p:nvPr/>
          </p:nvGrpSpPr>
          <p:grpSpPr>
            <a:xfrm>
              <a:off x="8310102" y="2618989"/>
              <a:ext cx="225094" cy="225094"/>
              <a:chOff x="8250706" y="4217117"/>
              <a:chExt cx="225094" cy="225094"/>
            </a:xfrm>
          </p:grpSpPr>
          <p:sp>
            <p:nvSpPr>
              <p:cNvPr id="23" name="îṡḻidè">
                <a:extLst>
                  <a:ext uri="{FF2B5EF4-FFF2-40B4-BE49-F238E27FC236}">
                    <a16:creationId xmlns:a16="http://schemas.microsoft.com/office/drawing/2014/main" id="{29AEA522-F4C6-58B3-E72F-719925A44957}"/>
                  </a:ext>
                </a:extLst>
              </p:cNvPr>
              <p:cNvSpPr/>
              <p:nvPr/>
            </p:nvSpPr>
            <p:spPr>
              <a:xfrm>
                <a:off x="8250706" y="4217117"/>
                <a:ext cx="225094" cy="225094"/>
              </a:xfrm>
              <a:prstGeom prst="ellipse">
                <a:avLst/>
              </a:prstGeom>
              <a:solidFill>
                <a:schemeClr val="bg1">
                  <a:lumMod val="95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fontScale="25000" lnSpcReduction="20000"/>
              </a:bodyPr>
              <a:lstStyle/>
              <a:p>
                <a:pPr algn="ctr" defTabSz="913765"/>
                <a:endParaRPr lang="zh-CN" altLang="en-US" sz="2400" b="1">
                  <a:solidFill>
                    <a:schemeClr val="bg1"/>
                  </a:solidFill>
                </a:endParaRPr>
              </a:p>
            </p:txBody>
          </p:sp>
          <p:sp>
            <p:nvSpPr>
              <p:cNvPr id="24" name="iS1íḋè">
                <a:extLst>
                  <a:ext uri="{FF2B5EF4-FFF2-40B4-BE49-F238E27FC236}">
                    <a16:creationId xmlns:a16="http://schemas.microsoft.com/office/drawing/2014/main" id="{4C7F71C5-EDC8-6E70-290E-3E185DAD6CE4}"/>
                  </a:ext>
                </a:extLst>
              </p:cNvPr>
              <p:cNvSpPr/>
              <p:nvPr/>
            </p:nvSpPr>
            <p:spPr>
              <a:xfrm rot="5400000">
                <a:off x="8343879" y="4306805"/>
                <a:ext cx="53034"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标题 10"/>
          <p:cNvSpPr>
            <a:spLocks noGrp="1"/>
          </p:cNvSpPr>
          <p:nvPr>
            <p:ph type="ctrTitle"/>
          </p:nvPr>
        </p:nvSpPr>
        <p:spPr/>
        <p:txBody>
          <a:bodyPr/>
          <a:lstStyle/>
          <a:p>
            <a:r>
              <a:rPr lang="zh-CN" altLang="en-US" dirty="0">
                <a:cs typeface="+mn-ea"/>
                <a:sym typeface="+mn-lt"/>
              </a:rPr>
              <a:t>成果展示</a:t>
            </a:r>
            <a:endParaRPr lang="en-US" altLang="zh-CN" dirty="0">
              <a:cs typeface="+mn-ea"/>
              <a:sym typeface="+mn-lt"/>
            </a:endParaRPr>
          </a:p>
        </p:txBody>
      </p:sp>
      <p:sp>
        <p:nvSpPr>
          <p:cNvPr id="13" name="文本占位符 12"/>
          <p:cNvSpPr>
            <a:spLocks noGrp="1"/>
          </p:cNvSpPr>
          <p:nvPr>
            <p:ph type="body" sz="quarter" idx="12"/>
          </p:nvPr>
        </p:nvSpPr>
        <p:spPr/>
        <p:txBody>
          <a:bodyPr/>
          <a:lstStyle/>
          <a:p>
            <a:pPr indent="0">
              <a:buNone/>
            </a:pPr>
            <a:r>
              <a:rPr lang="en-US" altLang="zh-CN" dirty="0">
                <a:latin typeface="+mn-lt"/>
                <a:cs typeface="+mn-ea"/>
                <a:sym typeface="+mn-lt"/>
              </a:rPr>
              <a:t>03</a:t>
            </a:r>
            <a:endParaRPr lang="en-US" dirty="0">
              <a:latin typeface="+mn-lt"/>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决策树的可视化</a:t>
            </a:r>
          </a:p>
        </p:txBody>
      </p:sp>
      <p:pic>
        <p:nvPicPr>
          <p:cNvPr id="2" name="PlotMDSTree">
            <a:hlinkClick r:id="" action="ppaction://media"/>
            <a:extLst>
              <a:ext uri="{FF2B5EF4-FFF2-40B4-BE49-F238E27FC236}">
                <a16:creationId xmlns:a16="http://schemas.microsoft.com/office/drawing/2014/main" id="{E991C0C8-6FCC-6DB3-CD12-3F73F06D32BE}"/>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325077" y="1029902"/>
            <a:ext cx="9214586" cy="5183206"/>
          </a:xfrm>
          <a:prstGeom prst="rect">
            <a:avLst/>
          </a:prstGeom>
        </p:spPr>
      </p:pic>
      <p:sp>
        <p:nvSpPr>
          <p:cNvPr id="4" name="灯片编号占位符 2">
            <a:extLst>
              <a:ext uri="{FF2B5EF4-FFF2-40B4-BE49-F238E27FC236}">
                <a16:creationId xmlns:a16="http://schemas.microsoft.com/office/drawing/2014/main" id="{0021F989-8EC2-E73E-DD08-2E60ED819928}"/>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t>14</a:t>
            </a:fld>
            <a:endParaRPr lang="en-US" dirty="0">
              <a:solidFill>
                <a:srgbClr val="000000">
                  <a:tint val="75000"/>
                </a:srgbClr>
              </a:solidFill>
              <a:cs typeface="+mn-ea"/>
              <a:sym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83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证据决策树的整体流程的可视化</a:t>
            </a:r>
          </a:p>
        </p:txBody>
      </p:sp>
      <p:sp>
        <p:nvSpPr>
          <p:cNvPr id="4" name="灯片编号占位符 2">
            <a:extLst>
              <a:ext uri="{FF2B5EF4-FFF2-40B4-BE49-F238E27FC236}">
                <a16:creationId xmlns:a16="http://schemas.microsoft.com/office/drawing/2014/main" id="{DEDD51B0-A5A8-12BF-0270-2CA71A12FFFB}"/>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t>15</a:t>
            </a:fld>
            <a:endParaRPr lang="en-US" dirty="0">
              <a:solidFill>
                <a:srgbClr val="000000">
                  <a:tint val="75000"/>
                </a:srgbClr>
              </a:solidFill>
              <a:cs typeface="+mn-ea"/>
              <a:sym typeface="+mn-lt"/>
            </a:endParaRPr>
          </a:p>
        </p:txBody>
      </p:sp>
      <p:pic>
        <p:nvPicPr>
          <p:cNvPr id="2" name="EDTs_2">
            <a:hlinkClick r:id="" action="ppaction://media"/>
            <a:extLst>
              <a:ext uri="{FF2B5EF4-FFF2-40B4-BE49-F238E27FC236}">
                <a16:creationId xmlns:a16="http://schemas.microsoft.com/office/drawing/2014/main" id="{B55FEA68-7949-6406-A23C-082B24F877CD}"/>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577009" y="1108032"/>
            <a:ext cx="9037982" cy="508386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30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16</a:t>
            </a:fld>
            <a:endParaRPr lang="en-US" dirty="0">
              <a:solidFill>
                <a:srgbClr val="000000">
                  <a:tint val="75000"/>
                </a:srgbClr>
              </a:solidFill>
              <a:cs typeface="+mn-ea"/>
              <a:sym typeface="+mn-lt"/>
            </a:endParaRPr>
          </a:p>
        </p:txBody>
      </p:sp>
      <p:pic>
        <p:nvPicPr>
          <p:cNvPr id="50" name="图片占位符 49">
            <a:extLst>
              <a:ext uri="{FF2B5EF4-FFF2-40B4-BE49-F238E27FC236}">
                <a16:creationId xmlns:a16="http://schemas.microsoft.com/office/drawing/2014/main" id="{368B8FA0-7AA1-192C-6F48-C13BCD564B7B}"/>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l="7829" r="7829"/>
          <a:stretch/>
        </p:blipFill>
        <p:spPr/>
      </p:pic>
      <p:pic>
        <p:nvPicPr>
          <p:cNvPr id="44" name="图片占位符 43">
            <a:extLst>
              <a:ext uri="{FF2B5EF4-FFF2-40B4-BE49-F238E27FC236}">
                <a16:creationId xmlns:a16="http://schemas.microsoft.com/office/drawing/2014/main" id="{2D436B87-2B5B-034D-656A-A152CD08A3E4}"/>
              </a:ext>
            </a:extLst>
          </p:cNvPr>
          <p:cNvPicPr>
            <a:picLocks noGrp="1" noChangeAspect="1"/>
          </p:cNvPicPr>
          <p:nvPr>
            <p:ph type="pic" sz="quarter" idx="11"/>
          </p:nvPr>
        </p:nvPicPr>
        <p:blipFill rotWithShape="1">
          <a:blip r:embed="rId3" cstate="print">
            <a:extLst>
              <a:ext uri="{28A0092B-C50C-407E-A947-70E740481C1C}">
                <a14:useLocalDpi xmlns:a14="http://schemas.microsoft.com/office/drawing/2010/main" val="0"/>
              </a:ext>
            </a:extLst>
          </a:blip>
          <a:srcRect l="7829" r="7829"/>
          <a:stretch/>
        </p:blipFill>
        <p:spPr/>
      </p:pic>
      <p:pic>
        <p:nvPicPr>
          <p:cNvPr id="48" name="图片占位符 47">
            <a:extLst>
              <a:ext uri="{FF2B5EF4-FFF2-40B4-BE49-F238E27FC236}">
                <a16:creationId xmlns:a16="http://schemas.microsoft.com/office/drawing/2014/main" id="{A5A91F82-E45C-1352-4956-CB135D4E11A0}"/>
              </a:ext>
            </a:extLst>
          </p:cNvPr>
          <p:cNvPicPr>
            <a:picLocks noGrp="1" noChangeAspect="1"/>
          </p:cNvPicPr>
          <p:nvPr>
            <p:ph type="pic" sz="quarter" idx="12"/>
          </p:nvPr>
        </p:nvPicPr>
        <p:blipFill rotWithShape="1">
          <a:blip r:embed="rId4" cstate="print">
            <a:extLst>
              <a:ext uri="{28A0092B-C50C-407E-A947-70E740481C1C}">
                <a14:useLocalDpi xmlns:a14="http://schemas.microsoft.com/office/drawing/2010/main" val="0"/>
              </a:ext>
            </a:extLst>
          </a:blip>
          <a:srcRect l="7796" r="7796"/>
          <a:stretch/>
        </p:blipFill>
        <p:spPr/>
      </p:pic>
      <p:pic>
        <p:nvPicPr>
          <p:cNvPr id="42" name="图片占位符 41">
            <a:extLst>
              <a:ext uri="{FF2B5EF4-FFF2-40B4-BE49-F238E27FC236}">
                <a16:creationId xmlns:a16="http://schemas.microsoft.com/office/drawing/2014/main" id="{F92FC664-DF0C-5654-EB48-64A9811035E7}"/>
              </a:ext>
            </a:extLst>
          </p:cNvPr>
          <p:cNvPicPr>
            <a:picLocks noGrp="1" noChangeAspect="1"/>
          </p:cNvPicPr>
          <p:nvPr>
            <p:ph type="pic" sz="quarter" idx="10"/>
          </p:nvPr>
        </p:nvPicPr>
        <p:blipFill rotWithShape="1">
          <a:blip r:embed="rId5" cstate="print">
            <a:extLst>
              <a:ext uri="{28A0092B-C50C-407E-A947-70E740481C1C}">
                <a14:useLocalDpi xmlns:a14="http://schemas.microsoft.com/office/drawing/2010/main" val="0"/>
              </a:ext>
            </a:extLst>
          </a:blip>
          <a:srcRect t="7922" b="7922"/>
          <a:stretch/>
        </p:blipFill>
        <p:spPr/>
      </p:pic>
      <p:pic>
        <p:nvPicPr>
          <p:cNvPr id="54" name="图片占位符 53">
            <a:extLst>
              <a:ext uri="{FF2B5EF4-FFF2-40B4-BE49-F238E27FC236}">
                <a16:creationId xmlns:a16="http://schemas.microsoft.com/office/drawing/2014/main" id="{9524F00E-7260-6326-787A-D384DE0A464A}"/>
              </a:ext>
            </a:extLst>
          </p:cNvPr>
          <p:cNvPicPr>
            <a:picLocks noGrp="1" noChangeAspect="1"/>
          </p:cNvPicPr>
          <p:nvPr>
            <p:ph type="pic" sz="quarter" idx="15"/>
          </p:nvPr>
        </p:nvPicPr>
        <p:blipFill rotWithShape="1">
          <a:blip r:embed="rId6" cstate="print">
            <a:extLst>
              <a:ext uri="{28A0092B-C50C-407E-A947-70E740481C1C}">
                <a14:useLocalDpi xmlns:a14="http://schemas.microsoft.com/office/drawing/2010/main" val="0"/>
              </a:ext>
            </a:extLst>
          </a:blip>
          <a:srcRect l="15415" r="15415"/>
          <a:stretch/>
        </p:blipFill>
        <p:spPr/>
      </p:pic>
      <p:sp>
        <p:nvSpPr>
          <p:cNvPr id="11" name="文本占位符 10"/>
          <p:cNvSpPr>
            <a:spLocks noGrp="1"/>
          </p:cNvSpPr>
          <p:nvPr>
            <p:ph type="body" sz="quarter" idx="16"/>
          </p:nvPr>
        </p:nvSpPr>
        <p:spPr/>
        <p:txBody>
          <a:bodyPr anchor="ctr"/>
          <a:lstStyle/>
          <a:p>
            <a:r>
              <a:rPr lang="zh-CN" altLang="en-US" dirty="0">
                <a:latin typeface="+mn-lt"/>
                <a:ea typeface="+mn-ea"/>
                <a:cs typeface="+mn-ea"/>
                <a:sym typeface="+mn-lt"/>
              </a:rPr>
              <a:t>动画部分截图</a:t>
            </a:r>
            <a:endParaRPr lang="zh-CN" altLang="en-US" dirty="0">
              <a:sym typeface="+mn-lt"/>
            </a:endParaRPr>
          </a:p>
        </p:txBody>
      </p:sp>
      <p:sp>
        <p:nvSpPr>
          <p:cNvPr id="12" name="文本占位符 11"/>
          <p:cNvSpPr>
            <a:spLocks noGrp="1"/>
          </p:cNvSpPr>
          <p:nvPr>
            <p:ph type="body" sz="quarter" idx="17"/>
          </p:nvPr>
        </p:nvSpPr>
        <p:spPr/>
        <p:txBody>
          <a:bodyPr/>
          <a:lstStyle/>
          <a:p>
            <a:r>
              <a:rPr lang="zh-CN" altLang="en-US" dirty="0">
                <a:sym typeface="+mn-lt"/>
              </a:rPr>
              <a:t>识别框架</a:t>
            </a:r>
            <a:endParaRPr lang="en-US" dirty="0">
              <a:sym typeface="+mn-lt"/>
            </a:endParaRPr>
          </a:p>
        </p:txBody>
      </p:sp>
      <p:sp>
        <p:nvSpPr>
          <p:cNvPr id="13" name="文本占位符 12"/>
          <p:cNvSpPr>
            <a:spLocks noGrp="1"/>
          </p:cNvSpPr>
          <p:nvPr>
            <p:ph type="body" sz="quarter" idx="18"/>
          </p:nvPr>
        </p:nvSpPr>
        <p:spPr/>
        <p:txBody>
          <a:bodyPr/>
          <a:lstStyle/>
          <a:p>
            <a:r>
              <a:rPr lang="zh-CN" altLang="en-US" dirty="0">
                <a:sym typeface="+mn-lt"/>
              </a:rPr>
              <a:t>树结构</a:t>
            </a:r>
            <a:endParaRPr lang="en-US" dirty="0">
              <a:sym typeface="+mn-lt"/>
            </a:endParaRPr>
          </a:p>
        </p:txBody>
      </p:sp>
      <p:sp>
        <p:nvSpPr>
          <p:cNvPr id="14" name="文本占位符 13"/>
          <p:cNvSpPr>
            <a:spLocks noGrp="1"/>
          </p:cNvSpPr>
          <p:nvPr>
            <p:ph type="body" sz="quarter" idx="19"/>
          </p:nvPr>
        </p:nvSpPr>
        <p:spPr/>
        <p:txBody>
          <a:bodyPr/>
          <a:lstStyle/>
          <a:p>
            <a:r>
              <a:rPr lang="zh-CN" altLang="en-US" dirty="0">
                <a:sym typeface="+mn-lt"/>
              </a:rPr>
              <a:t>流程图</a:t>
            </a:r>
            <a:endParaRPr lang="en-US" dirty="0">
              <a:sym typeface="+mn-lt"/>
            </a:endParaRPr>
          </a:p>
        </p:txBody>
      </p:sp>
      <p:sp>
        <p:nvSpPr>
          <p:cNvPr id="15" name="文本占位符 14"/>
          <p:cNvSpPr>
            <a:spLocks noGrp="1"/>
          </p:cNvSpPr>
          <p:nvPr>
            <p:ph type="body" sz="quarter" idx="20"/>
          </p:nvPr>
        </p:nvSpPr>
        <p:spPr/>
        <p:txBody>
          <a:bodyPr/>
          <a:lstStyle/>
          <a:p>
            <a:r>
              <a:rPr lang="zh-CN" altLang="en-US" dirty="0">
                <a:sym typeface="+mn-lt"/>
              </a:rPr>
              <a:t>三维展示</a:t>
            </a:r>
            <a:endParaRPr lang="en-US" dirty="0">
              <a:sym typeface="+mn-lt"/>
            </a:endParaRPr>
          </a:p>
        </p:txBody>
      </p:sp>
      <p:sp>
        <p:nvSpPr>
          <p:cNvPr id="16" name="文本占位符 15"/>
          <p:cNvSpPr>
            <a:spLocks noGrp="1"/>
          </p:cNvSpPr>
          <p:nvPr>
            <p:ph type="body" sz="quarter" idx="21"/>
          </p:nvPr>
        </p:nvSpPr>
        <p:spPr/>
        <p:txBody>
          <a:bodyPr/>
          <a:lstStyle/>
          <a:p>
            <a:r>
              <a:rPr lang="zh-CN" altLang="en-US" dirty="0">
                <a:sym typeface="+mn-lt"/>
              </a:rPr>
              <a:t>叶节点融合规则</a:t>
            </a:r>
            <a:endParaRPr lang="en-US" dirty="0">
              <a:sym typeface="+mn-lt"/>
            </a:endParaRPr>
          </a:p>
        </p:txBody>
      </p:sp>
      <p:sp>
        <p:nvSpPr>
          <p:cNvPr id="17" name="文本占位符 16"/>
          <p:cNvSpPr>
            <a:spLocks noGrp="1"/>
          </p:cNvSpPr>
          <p:nvPr>
            <p:ph type="body" sz="quarter" idx="22"/>
          </p:nvPr>
        </p:nvSpPr>
        <p:spPr/>
        <p:txBody>
          <a:bodyPr/>
          <a:lstStyle/>
          <a:p>
            <a:r>
              <a:rPr lang="zh-CN" altLang="en-US" dirty="0">
                <a:sym typeface="+mn-lt"/>
              </a:rPr>
              <a:t>质量、似然函数之间关系图</a:t>
            </a:r>
            <a:endParaRPr lang="en-US" dirty="0">
              <a:sym typeface="+mn-lt"/>
            </a:endParaRPr>
          </a:p>
        </p:txBody>
      </p:sp>
      <p:pic>
        <p:nvPicPr>
          <p:cNvPr id="6" name="图片占位符 5">
            <a:extLst>
              <a:ext uri="{FF2B5EF4-FFF2-40B4-BE49-F238E27FC236}">
                <a16:creationId xmlns:a16="http://schemas.microsoft.com/office/drawing/2014/main" id="{84A57E3C-8608-DF2E-030C-4E9881266222}"/>
              </a:ext>
            </a:extLst>
          </p:cNvPr>
          <p:cNvPicPr>
            <a:picLocks noGrp="1" noChangeAspect="1"/>
          </p:cNvPicPr>
          <p:nvPr>
            <p:ph type="pic" sz="quarter" idx="14"/>
          </p:nvPr>
        </p:nvPicPr>
        <p:blipFill>
          <a:blip r:embed="rId7" cstate="print">
            <a:extLst>
              <a:ext uri="{28A0092B-C50C-407E-A947-70E740481C1C}">
                <a14:useLocalDpi xmlns:a14="http://schemas.microsoft.com/office/drawing/2010/main" val="0"/>
              </a:ext>
            </a:extLst>
          </a:blip>
          <a:srcRect l="7829" r="7829"/>
          <a:stretch>
            <a:fillRect/>
          </a:stretch>
        </p:blipFill>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标题 10"/>
          <p:cNvSpPr>
            <a:spLocks noGrp="1"/>
          </p:cNvSpPr>
          <p:nvPr>
            <p:ph type="ctrTitle"/>
          </p:nvPr>
        </p:nvSpPr>
        <p:spPr/>
        <p:txBody>
          <a:bodyPr/>
          <a:lstStyle/>
          <a:p>
            <a:r>
              <a:rPr lang="zh-CN" altLang="en-US" dirty="0">
                <a:cs typeface="+mn-ea"/>
                <a:sym typeface="+mn-lt"/>
              </a:rPr>
              <a:t>总结与展望</a:t>
            </a:r>
          </a:p>
        </p:txBody>
      </p:sp>
      <p:sp>
        <p:nvSpPr>
          <p:cNvPr id="13" name="文本占位符 12"/>
          <p:cNvSpPr>
            <a:spLocks noGrp="1"/>
          </p:cNvSpPr>
          <p:nvPr>
            <p:ph type="body" sz="quarter" idx="12"/>
          </p:nvPr>
        </p:nvSpPr>
        <p:spPr/>
        <p:txBody>
          <a:bodyPr/>
          <a:lstStyle/>
          <a:p>
            <a:pPr indent="0">
              <a:buNone/>
            </a:pPr>
            <a:r>
              <a:rPr lang="en-US" altLang="zh-CN" dirty="0">
                <a:latin typeface="+mn-lt"/>
                <a:cs typeface="+mn-ea"/>
                <a:sym typeface="+mn-lt"/>
              </a:rPr>
              <a:t>04</a:t>
            </a:r>
            <a:endParaRPr lang="en-US" dirty="0">
              <a:latin typeface="+mn-lt"/>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创新点</a:t>
            </a:r>
          </a:p>
        </p:txBody>
      </p:sp>
      <p:grpSp>
        <p:nvGrpSpPr>
          <p:cNvPr id="3" name="组合 2"/>
          <p:cNvGrpSpPr/>
          <p:nvPr/>
        </p:nvGrpSpPr>
        <p:grpSpPr>
          <a:xfrm>
            <a:off x="758980" y="1303452"/>
            <a:ext cx="10203061" cy="4202608"/>
            <a:chOff x="758980" y="1303452"/>
            <a:chExt cx="10203061" cy="4202608"/>
          </a:xfrm>
        </p:grpSpPr>
        <p:grpSp>
          <p:nvGrpSpPr>
            <p:cNvPr id="4" name="isļiḍê"/>
            <p:cNvGrpSpPr/>
            <p:nvPr/>
          </p:nvGrpSpPr>
          <p:grpSpPr>
            <a:xfrm>
              <a:off x="966533" y="1303452"/>
              <a:ext cx="3059994" cy="2378661"/>
              <a:chOff x="614461" y="1303452"/>
              <a:chExt cx="3059994" cy="2378661"/>
            </a:xfrm>
          </p:grpSpPr>
          <p:sp>
            <p:nvSpPr>
              <p:cNvPr id="26" name="ïŝ1íde"/>
              <p:cNvSpPr/>
              <p:nvPr/>
            </p:nvSpPr>
            <p:spPr>
              <a:xfrm>
                <a:off x="614461" y="1303452"/>
                <a:ext cx="3059994" cy="1466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zh-CN" altLang="en-US" sz="1600" dirty="0">
                    <a:solidFill>
                      <a:schemeClr val="tx1"/>
                    </a:solidFill>
                  </a:rPr>
                  <a:t>目前机器学习领域的可视化多为静态图，本项目中使用动画方式，更能体现算法的过程，更具有连续性和解释性。</a:t>
                </a:r>
                <a:endParaRPr kumimoji="1" lang="en-US" altLang="zh-CN" sz="1600" dirty="0">
                  <a:solidFill>
                    <a:schemeClr val="tx1"/>
                  </a:solidFill>
                </a:endParaRPr>
              </a:p>
            </p:txBody>
          </p:sp>
          <p:cxnSp>
            <p:nvCxnSpPr>
              <p:cNvPr id="24" name="ísļide"/>
              <p:cNvCxnSpPr/>
              <p:nvPr/>
            </p:nvCxnSpPr>
            <p:spPr>
              <a:xfrm flipV="1">
                <a:off x="2144458" y="2902689"/>
                <a:ext cx="0" cy="779424"/>
              </a:xfrm>
              <a:prstGeom prst="straightConnector1">
                <a:avLst/>
              </a:prstGeom>
              <a:ln w="15875">
                <a:solidFill>
                  <a:schemeClr val="accent1"/>
                </a:solidFill>
                <a:tailEnd type="diamond"/>
              </a:ln>
            </p:spPr>
            <p:style>
              <a:lnRef idx="1">
                <a:schemeClr val="accent1"/>
              </a:lnRef>
              <a:fillRef idx="0">
                <a:schemeClr val="accent1"/>
              </a:fillRef>
              <a:effectRef idx="0">
                <a:schemeClr val="accent1"/>
              </a:effectRef>
              <a:fontRef idx="minor">
                <a:schemeClr val="tx1"/>
              </a:fontRef>
            </p:style>
          </p:cxnSp>
        </p:grpSp>
        <p:grpSp>
          <p:nvGrpSpPr>
            <p:cNvPr id="6" name="íSľiḓe"/>
            <p:cNvGrpSpPr/>
            <p:nvPr/>
          </p:nvGrpSpPr>
          <p:grpSpPr>
            <a:xfrm>
              <a:off x="4473574" y="3750333"/>
              <a:ext cx="2872451" cy="1755727"/>
              <a:chOff x="3371325" y="3750333"/>
              <a:chExt cx="2872451" cy="1755727"/>
            </a:xfrm>
          </p:grpSpPr>
          <p:sp>
            <p:nvSpPr>
              <p:cNvPr id="21" name="iŝ1îďé"/>
              <p:cNvSpPr/>
              <p:nvPr/>
            </p:nvSpPr>
            <p:spPr>
              <a:xfrm>
                <a:off x="3371325" y="4679386"/>
                <a:ext cx="2872451" cy="826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zh-CN" altLang="en-US" sz="1600" dirty="0">
                    <a:solidFill>
                      <a:schemeClr val="tx1"/>
                    </a:solidFill>
                  </a:rPr>
                  <a:t>尝试了证据学习领域可视化的可能方向</a:t>
                </a:r>
                <a:endParaRPr kumimoji="1" lang="en-US" altLang="zh-CN" sz="1600" dirty="0">
                  <a:solidFill>
                    <a:schemeClr val="tx1"/>
                  </a:solidFill>
                </a:endParaRPr>
              </a:p>
            </p:txBody>
          </p:sp>
          <p:cxnSp>
            <p:nvCxnSpPr>
              <p:cNvPr id="19" name="îṥlîḍè"/>
              <p:cNvCxnSpPr/>
              <p:nvPr/>
            </p:nvCxnSpPr>
            <p:spPr>
              <a:xfrm>
                <a:off x="4790530" y="3750333"/>
                <a:ext cx="0" cy="779424"/>
              </a:xfrm>
              <a:prstGeom prst="straightConnector1">
                <a:avLst/>
              </a:prstGeom>
              <a:ln w="15875">
                <a:solidFill>
                  <a:schemeClr val="accent3"/>
                </a:solidFill>
                <a:tailEnd type="diamond"/>
              </a:ln>
            </p:spPr>
            <p:style>
              <a:lnRef idx="1">
                <a:schemeClr val="accent1"/>
              </a:lnRef>
              <a:fillRef idx="0">
                <a:schemeClr val="accent1"/>
              </a:fillRef>
              <a:effectRef idx="0">
                <a:schemeClr val="accent1"/>
              </a:effectRef>
              <a:fontRef idx="minor">
                <a:schemeClr val="tx1"/>
              </a:fontRef>
            </p:style>
          </p:cxnSp>
        </p:grpSp>
        <p:grpSp>
          <p:nvGrpSpPr>
            <p:cNvPr id="7" name="íṣ1ïḑé"/>
            <p:cNvGrpSpPr/>
            <p:nvPr/>
          </p:nvGrpSpPr>
          <p:grpSpPr>
            <a:xfrm>
              <a:off x="7831596" y="1943627"/>
              <a:ext cx="2881416" cy="1738492"/>
              <a:chOff x="7846872" y="1943627"/>
              <a:chExt cx="2881416" cy="1738492"/>
            </a:xfrm>
          </p:grpSpPr>
          <p:sp>
            <p:nvSpPr>
              <p:cNvPr id="16" name="iṧ1îďè"/>
              <p:cNvSpPr/>
              <p:nvPr/>
            </p:nvSpPr>
            <p:spPr>
              <a:xfrm>
                <a:off x="7846872" y="1943627"/>
                <a:ext cx="2881416" cy="826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zh-CN" altLang="en-US" sz="1600" dirty="0">
                    <a:solidFill>
                      <a:schemeClr val="tx1"/>
                    </a:solidFill>
                  </a:rPr>
                  <a:t>部分动画打包成接口，为后续二次开发提供便利</a:t>
                </a:r>
                <a:endParaRPr kumimoji="1" lang="en-US" altLang="zh-CN" sz="1600" dirty="0">
                  <a:solidFill>
                    <a:schemeClr val="tx1"/>
                  </a:solidFill>
                </a:endParaRPr>
              </a:p>
            </p:txBody>
          </p:sp>
          <p:cxnSp>
            <p:nvCxnSpPr>
              <p:cNvPr id="14" name="î$ļídê"/>
              <p:cNvCxnSpPr/>
              <p:nvPr/>
            </p:nvCxnSpPr>
            <p:spPr>
              <a:xfrm flipV="1">
                <a:off x="9287599" y="2902695"/>
                <a:ext cx="0" cy="779424"/>
              </a:xfrm>
              <a:prstGeom prst="straightConnector1">
                <a:avLst/>
              </a:prstGeom>
              <a:ln w="15875">
                <a:solidFill>
                  <a:schemeClr val="accent2"/>
                </a:solidFill>
                <a:tailEnd type="diamond"/>
              </a:ln>
            </p:spPr>
            <p:style>
              <a:lnRef idx="1">
                <a:schemeClr val="accent1"/>
              </a:lnRef>
              <a:fillRef idx="0">
                <a:schemeClr val="accent1"/>
              </a:fillRef>
              <a:effectRef idx="0">
                <a:schemeClr val="accent1"/>
              </a:effectRef>
              <a:fontRef idx="minor">
                <a:schemeClr val="tx1"/>
              </a:fontRef>
            </p:style>
          </p:cxnSp>
        </p:grpSp>
        <p:cxnSp>
          <p:nvCxnSpPr>
            <p:cNvPr id="8" name="ï$1íḓè"/>
            <p:cNvCxnSpPr/>
            <p:nvPr/>
          </p:nvCxnSpPr>
          <p:spPr>
            <a:xfrm flipH="1">
              <a:off x="857559" y="3715965"/>
              <a:ext cx="2513767" cy="0"/>
            </a:xfrm>
            <a:prstGeom prst="straightConnector1">
              <a:avLst/>
            </a:prstGeom>
            <a:ln w="76200" cap="rnd">
              <a:gradFill>
                <a:gsLst>
                  <a:gs pos="100000">
                    <a:schemeClr val="accent1">
                      <a:lumMod val="60000"/>
                      <a:lumOff val="40000"/>
                      <a:alpha val="0"/>
                    </a:schemeClr>
                  </a:gs>
                  <a:gs pos="20000">
                    <a:schemeClr val="accent1"/>
                  </a:gs>
                </a:gsLst>
                <a:lin ang="12000000" scaled="0"/>
              </a:gradFill>
              <a:round/>
            </a:ln>
          </p:spPr>
          <p:style>
            <a:lnRef idx="1">
              <a:schemeClr val="accent1"/>
            </a:lnRef>
            <a:fillRef idx="0">
              <a:schemeClr val="accent1"/>
            </a:fillRef>
            <a:effectRef idx="0">
              <a:schemeClr val="accent1"/>
            </a:effectRef>
            <a:fontRef idx="minor">
              <a:schemeClr val="tx1"/>
            </a:fontRef>
          </p:style>
        </p:cxnSp>
        <p:cxnSp>
          <p:nvCxnSpPr>
            <p:cNvPr id="9" name="iṡļïḍê"/>
            <p:cNvCxnSpPr/>
            <p:nvPr/>
          </p:nvCxnSpPr>
          <p:spPr>
            <a:xfrm flipH="1">
              <a:off x="4220083" y="3715964"/>
              <a:ext cx="3379435" cy="0"/>
            </a:xfrm>
            <a:prstGeom prst="straightConnector1">
              <a:avLst/>
            </a:prstGeom>
            <a:ln w="76200" cap="sq">
              <a:gradFill>
                <a:gsLst>
                  <a:gs pos="100000">
                    <a:schemeClr val="accent3">
                      <a:lumMod val="60000"/>
                      <a:lumOff val="40000"/>
                      <a:alpha val="0"/>
                    </a:schemeClr>
                  </a:gs>
                  <a:gs pos="20000">
                    <a:schemeClr val="accent3"/>
                  </a:gs>
                </a:gsLst>
                <a:lin ang="12000000" scaled="0"/>
              </a:gradFill>
              <a:round/>
            </a:ln>
          </p:spPr>
          <p:style>
            <a:lnRef idx="1">
              <a:schemeClr val="accent1"/>
            </a:lnRef>
            <a:fillRef idx="0">
              <a:schemeClr val="accent1"/>
            </a:fillRef>
            <a:effectRef idx="0">
              <a:schemeClr val="accent1"/>
            </a:effectRef>
            <a:fontRef idx="minor">
              <a:schemeClr val="tx1"/>
            </a:fontRef>
          </p:style>
        </p:cxnSp>
        <p:cxnSp>
          <p:nvCxnSpPr>
            <p:cNvPr id="10" name="íşļïḑé"/>
            <p:cNvCxnSpPr/>
            <p:nvPr/>
          </p:nvCxnSpPr>
          <p:spPr>
            <a:xfrm flipH="1">
              <a:off x="758980" y="3715964"/>
              <a:ext cx="3379435" cy="0"/>
            </a:xfrm>
            <a:prstGeom prst="straightConnector1">
              <a:avLst/>
            </a:prstGeom>
            <a:ln w="76200" cap="sq">
              <a:gradFill>
                <a:gsLst>
                  <a:gs pos="100000">
                    <a:schemeClr val="accent1">
                      <a:lumMod val="60000"/>
                      <a:lumOff val="40000"/>
                      <a:alpha val="0"/>
                    </a:schemeClr>
                  </a:gs>
                  <a:gs pos="20000">
                    <a:schemeClr val="accent1"/>
                  </a:gs>
                </a:gsLst>
                <a:lin ang="12000000" scaled="0"/>
              </a:gradFill>
              <a:round/>
            </a:ln>
          </p:spPr>
          <p:style>
            <a:lnRef idx="1">
              <a:schemeClr val="accent1"/>
            </a:lnRef>
            <a:fillRef idx="0">
              <a:schemeClr val="accent1"/>
            </a:fillRef>
            <a:effectRef idx="0">
              <a:schemeClr val="accent1"/>
            </a:effectRef>
            <a:fontRef idx="minor">
              <a:schemeClr val="tx1"/>
            </a:fontRef>
          </p:style>
        </p:cxnSp>
        <p:cxnSp>
          <p:nvCxnSpPr>
            <p:cNvPr id="11" name="íṥļîďe"/>
            <p:cNvCxnSpPr/>
            <p:nvPr/>
          </p:nvCxnSpPr>
          <p:spPr>
            <a:xfrm flipH="1">
              <a:off x="7582606" y="3715964"/>
              <a:ext cx="3379435" cy="0"/>
            </a:xfrm>
            <a:prstGeom prst="straightConnector1">
              <a:avLst/>
            </a:prstGeom>
            <a:ln w="76200" cap="sq">
              <a:gradFill>
                <a:gsLst>
                  <a:gs pos="100000">
                    <a:schemeClr val="accent2">
                      <a:lumMod val="60000"/>
                      <a:lumOff val="40000"/>
                      <a:alpha val="0"/>
                    </a:schemeClr>
                  </a:gs>
                  <a:gs pos="20000">
                    <a:schemeClr val="accent2"/>
                  </a:gs>
                </a:gsLst>
                <a:lin ang="12000000" scaled="0"/>
              </a:gradFill>
              <a:round/>
            </a:ln>
          </p:spPr>
          <p:style>
            <a:lnRef idx="1">
              <a:schemeClr val="accent1"/>
            </a:lnRef>
            <a:fillRef idx="0">
              <a:schemeClr val="accent1"/>
            </a:fillRef>
            <a:effectRef idx="0">
              <a:schemeClr val="accent1"/>
            </a:effectRef>
            <a:fontRef idx="minor">
              <a:schemeClr val="tx1"/>
            </a:fontRef>
          </p:style>
        </p:cxnSp>
      </p:grpSp>
      <p:sp>
        <p:nvSpPr>
          <p:cNvPr id="17" name="灯片编号占位符 2">
            <a:extLst>
              <a:ext uri="{FF2B5EF4-FFF2-40B4-BE49-F238E27FC236}">
                <a16:creationId xmlns:a16="http://schemas.microsoft.com/office/drawing/2014/main" id="{795780F8-FD9A-8C71-1AC9-C1AB67F50F82}"/>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t>18</a:t>
            </a:fld>
            <a:endParaRPr lang="en-US" dirty="0">
              <a:solidFill>
                <a:srgbClr val="000000">
                  <a:tint val="75000"/>
                </a:srgbClr>
              </a:solidFill>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展望</a:t>
            </a:r>
          </a:p>
        </p:txBody>
      </p:sp>
      <p:grpSp>
        <p:nvGrpSpPr>
          <p:cNvPr id="6" name="组合 5"/>
          <p:cNvGrpSpPr/>
          <p:nvPr/>
        </p:nvGrpSpPr>
        <p:grpSpPr>
          <a:xfrm>
            <a:off x="1168170" y="1896489"/>
            <a:ext cx="10916132" cy="3484013"/>
            <a:chOff x="1168170" y="1896489"/>
            <a:chExt cx="10916132" cy="3484013"/>
          </a:xfrm>
        </p:grpSpPr>
        <p:grpSp>
          <p:nvGrpSpPr>
            <p:cNvPr id="7" name="íŝḻiḍè"/>
            <p:cNvGrpSpPr/>
            <p:nvPr/>
          </p:nvGrpSpPr>
          <p:grpSpPr>
            <a:xfrm>
              <a:off x="3815329" y="2366689"/>
              <a:ext cx="4547205" cy="2531022"/>
              <a:chOff x="4132589" y="2163489"/>
              <a:chExt cx="4547205" cy="2531022"/>
            </a:xfrm>
          </p:grpSpPr>
          <p:sp>
            <p:nvSpPr>
              <p:cNvPr id="18" name="íṧļiḋê"/>
              <p:cNvSpPr/>
              <p:nvPr/>
            </p:nvSpPr>
            <p:spPr>
              <a:xfrm>
                <a:off x="6148770" y="2163489"/>
                <a:ext cx="2531024" cy="2531022"/>
              </a:xfrm>
              <a:prstGeom prst="ellipse">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endParaRPr lang="zh-CN" altLang="en-US" sz="2400" b="1" dirty="0">
                  <a:solidFill>
                    <a:schemeClr val="bg1"/>
                  </a:solidFill>
                </a:endParaRPr>
              </a:p>
            </p:txBody>
          </p:sp>
          <p:sp>
            <p:nvSpPr>
              <p:cNvPr id="21" name="î$ḷîdê"/>
              <p:cNvSpPr/>
              <p:nvPr/>
            </p:nvSpPr>
            <p:spPr>
              <a:xfrm>
                <a:off x="4132589" y="2163489"/>
                <a:ext cx="2531024" cy="2531022"/>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endParaRPr lang="zh-CN" altLang="en-US" sz="2400" b="1" dirty="0">
                  <a:solidFill>
                    <a:schemeClr val="bg1"/>
                  </a:solidFill>
                </a:endParaRPr>
              </a:p>
            </p:txBody>
          </p:sp>
        </p:grpSp>
        <p:sp>
          <p:nvSpPr>
            <p:cNvPr id="8" name="islïďe"/>
            <p:cNvSpPr/>
            <p:nvPr/>
          </p:nvSpPr>
          <p:spPr>
            <a:xfrm>
              <a:off x="3708882" y="3519653"/>
              <a:ext cx="225094" cy="225094"/>
            </a:xfrm>
            <a:prstGeom prst="ellipse">
              <a:avLst/>
            </a:prstGeom>
            <a:solidFill>
              <a:schemeClr val="bg1">
                <a:lumMod val="95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fontScale="25000" lnSpcReduction="20000"/>
            </a:bodyPr>
            <a:lstStyle/>
            <a:p>
              <a:pPr algn="ctr" defTabSz="913765"/>
              <a:endParaRPr lang="zh-CN" altLang="en-US" sz="2400" b="1">
                <a:solidFill>
                  <a:schemeClr val="bg1"/>
                </a:solidFill>
              </a:endParaRPr>
            </a:p>
          </p:txBody>
        </p:sp>
        <p:sp>
          <p:nvSpPr>
            <p:cNvPr id="9" name="íṡḷiďè"/>
            <p:cNvSpPr/>
            <p:nvPr/>
          </p:nvSpPr>
          <p:spPr>
            <a:xfrm>
              <a:off x="8249987" y="3519653"/>
              <a:ext cx="225094" cy="225094"/>
            </a:xfrm>
            <a:prstGeom prst="ellipse">
              <a:avLst/>
            </a:prstGeom>
            <a:solidFill>
              <a:schemeClr val="bg1">
                <a:lumMod val="95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fontScale="25000" lnSpcReduction="20000"/>
            </a:bodyPr>
            <a:lstStyle/>
            <a:p>
              <a:pPr algn="ctr" defTabSz="913765"/>
              <a:endParaRPr lang="zh-CN" altLang="en-US" sz="2400" b="1">
                <a:solidFill>
                  <a:schemeClr val="bg1"/>
                </a:solidFill>
              </a:endParaRPr>
            </a:p>
          </p:txBody>
        </p:sp>
        <p:sp>
          <p:nvSpPr>
            <p:cNvPr id="10" name="ïSlide"/>
            <p:cNvSpPr/>
            <p:nvPr/>
          </p:nvSpPr>
          <p:spPr>
            <a:xfrm rot="5400000">
              <a:off x="3799674" y="3609341"/>
              <a:ext cx="53034" cy="4571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iŝļïḍè"/>
            <p:cNvSpPr/>
            <p:nvPr/>
          </p:nvSpPr>
          <p:spPr>
            <a:xfrm rot="5400000">
              <a:off x="8343160" y="3609341"/>
              <a:ext cx="53034"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iśḷîḑè"/>
            <p:cNvSpPr txBox="1"/>
            <p:nvPr/>
          </p:nvSpPr>
          <p:spPr>
            <a:xfrm>
              <a:off x="1168170" y="4980392"/>
              <a:ext cx="4131171" cy="400110"/>
            </a:xfrm>
            <a:prstGeom prst="rect">
              <a:avLst/>
            </a:prstGeom>
            <a:noFill/>
          </p:spPr>
          <p:txBody>
            <a:bodyPr wrap="square" rtlCol="0">
              <a:spAutoFit/>
            </a:bodyPr>
            <a:lstStyle/>
            <a:p>
              <a:r>
                <a:rPr lang="zh-CN" altLang="en-US" sz="2000" b="1" dirty="0">
                  <a:solidFill>
                    <a:schemeClr val="accent1"/>
                  </a:solidFill>
                </a:rPr>
                <a:t>可发展成为证据学习的可视化库</a:t>
              </a:r>
              <a:endParaRPr lang="en-US" altLang="zh-CN" sz="2000" b="1" dirty="0">
                <a:solidFill>
                  <a:schemeClr val="accent1"/>
                </a:solidFill>
              </a:endParaRPr>
            </a:p>
          </p:txBody>
        </p:sp>
        <p:sp>
          <p:nvSpPr>
            <p:cNvPr id="14" name="íṥlïḓé"/>
            <p:cNvSpPr txBox="1"/>
            <p:nvPr/>
          </p:nvSpPr>
          <p:spPr>
            <a:xfrm>
              <a:off x="6788124" y="1896489"/>
              <a:ext cx="5296178" cy="400110"/>
            </a:xfrm>
            <a:prstGeom prst="rect">
              <a:avLst/>
            </a:prstGeom>
            <a:noFill/>
          </p:spPr>
          <p:txBody>
            <a:bodyPr wrap="square" rtlCol="0">
              <a:spAutoFit/>
            </a:bodyPr>
            <a:lstStyle/>
            <a:p>
              <a:r>
                <a:rPr lang="zh-CN" altLang="en-US" sz="2000" b="1" dirty="0"/>
                <a:t>成为教师教学或者初学者实践的方式</a:t>
              </a:r>
              <a:endParaRPr lang="en-US" altLang="zh-CN" sz="2000" b="1" dirty="0"/>
            </a:p>
          </p:txBody>
        </p:sp>
      </p:grpSp>
      <p:sp>
        <p:nvSpPr>
          <p:cNvPr id="23" name="Freeform 82">
            <a:extLst>
              <a:ext uri="{FF2B5EF4-FFF2-40B4-BE49-F238E27FC236}">
                <a16:creationId xmlns:a16="http://schemas.microsoft.com/office/drawing/2014/main" id="{78364732-AC0D-ED7E-91AC-AEB4BDF021E3}"/>
              </a:ext>
            </a:extLst>
          </p:cNvPr>
          <p:cNvSpPr>
            <a:spLocks/>
          </p:cNvSpPr>
          <p:nvPr/>
        </p:nvSpPr>
        <p:spPr bwMode="auto">
          <a:xfrm>
            <a:off x="7003133" y="3477345"/>
            <a:ext cx="335593" cy="420131"/>
          </a:xfrm>
          <a:custGeom>
            <a:avLst/>
            <a:gdLst>
              <a:gd name="T0" fmla="*/ 95 w 99"/>
              <a:gd name="T1" fmla="*/ 124 h 124"/>
              <a:gd name="T2" fmla="*/ 99 w 99"/>
              <a:gd name="T3" fmla="*/ 91 h 124"/>
              <a:gd name="T4" fmla="*/ 95 w 99"/>
              <a:gd name="T5" fmla="*/ 91 h 124"/>
              <a:gd name="T6" fmla="*/ 90 w 99"/>
              <a:gd name="T7" fmla="*/ 104 h 124"/>
              <a:gd name="T8" fmla="*/ 81 w 99"/>
              <a:gd name="T9" fmla="*/ 107 h 124"/>
              <a:gd name="T10" fmla="*/ 27 w 99"/>
              <a:gd name="T11" fmla="*/ 107 h 124"/>
              <a:gd name="T12" fmla="*/ 70 w 99"/>
              <a:gd name="T13" fmla="*/ 62 h 124"/>
              <a:gd name="T14" fmla="*/ 26 w 99"/>
              <a:gd name="T15" fmla="*/ 14 h 124"/>
              <a:gd name="T16" fmla="*/ 25 w 99"/>
              <a:gd name="T17" fmla="*/ 12 h 124"/>
              <a:gd name="T18" fmla="*/ 25 w 99"/>
              <a:gd name="T19" fmla="*/ 10 h 124"/>
              <a:gd name="T20" fmla="*/ 26 w 99"/>
              <a:gd name="T21" fmla="*/ 9 h 124"/>
              <a:gd name="T22" fmla="*/ 29 w 99"/>
              <a:gd name="T23" fmla="*/ 9 h 124"/>
              <a:gd name="T24" fmla="*/ 63 w 99"/>
              <a:gd name="T25" fmla="*/ 9 h 124"/>
              <a:gd name="T26" fmla="*/ 73 w 99"/>
              <a:gd name="T27" fmla="*/ 11 h 124"/>
              <a:gd name="T28" fmla="*/ 85 w 99"/>
              <a:gd name="T29" fmla="*/ 18 h 124"/>
              <a:gd name="T30" fmla="*/ 91 w 99"/>
              <a:gd name="T31" fmla="*/ 26 h 124"/>
              <a:gd name="T32" fmla="*/ 95 w 99"/>
              <a:gd name="T33" fmla="*/ 37 h 124"/>
              <a:gd name="T34" fmla="*/ 99 w 99"/>
              <a:gd name="T35" fmla="*/ 37 h 124"/>
              <a:gd name="T36" fmla="*/ 95 w 99"/>
              <a:gd name="T37" fmla="*/ 0 h 124"/>
              <a:gd name="T38" fmla="*/ 0 w 99"/>
              <a:gd name="T39" fmla="*/ 0 h 124"/>
              <a:gd name="T40" fmla="*/ 59 w 99"/>
              <a:gd name="T41" fmla="*/ 64 h 124"/>
              <a:gd name="T42" fmla="*/ 0 w 99"/>
              <a:gd name="T43" fmla="*/ 124 h 124"/>
              <a:gd name="T44" fmla="*/ 95 w 99"/>
              <a:gd name="T45"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124">
                <a:moveTo>
                  <a:pt x="95" y="124"/>
                </a:moveTo>
                <a:cubicBezTo>
                  <a:pt x="99" y="91"/>
                  <a:pt x="99" y="91"/>
                  <a:pt x="99" y="91"/>
                </a:cubicBezTo>
                <a:cubicBezTo>
                  <a:pt x="95" y="91"/>
                  <a:pt x="95" y="91"/>
                  <a:pt x="95" y="91"/>
                </a:cubicBezTo>
                <a:cubicBezTo>
                  <a:pt x="94" y="96"/>
                  <a:pt x="93" y="101"/>
                  <a:pt x="90" y="104"/>
                </a:cubicBezTo>
                <a:cubicBezTo>
                  <a:pt x="88" y="107"/>
                  <a:pt x="85" y="107"/>
                  <a:pt x="81" y="107"/>
                </a:cubicBezTo>
                <a:cubicBezTo>
                  <a:pt x="27" y="107"/>
                  <a:pt x="27" y="107"/>
                  <a:pt x="27" y="107"/>
                </a:cubicBezTo>
                <a:cubicBezTo>
                  <a:pt x="70" y="62"/>
                  <a:pt x="70" y="62"/>
                  <a:pt x="70" y="62"/>
                </a:cubicBezTo>
                <a:cubicBezTo>
                  <a:pt x="26" y="14"/>
                  <a:pt x="26" y="14"/>
                  <a:pt x="26" y="14"/>
                </a:cubicBezTo>
                <a:cubicBezTo>
                  <a:pt x="25" y="13"/>
                  <a:pt x="25" y="13"/>
                  <a:pt x="25" y="12"/>
                </a:cubicBezTo>
                <a:cubicBezTo>
                  <a:pt x="25" y="11"/>
                  <a:pt x="25" y="11"/>
                  <a:pt x="25" y="10"/>
                </a:cubicBezTo>
                <a:cubicBezTo>
                  <a:pt x="25" y="10"/>
                  <a:pt x="26" y="9"/>
                  <a:pt x="26" y="9"/>
                </a:cubicBezTo>
                <a:cubicBezTo>
                  <a:pt x="27" y="9"/>
                  <a:pt x="28" y="9"/>
                  <a:pt x="29" y="9"/>
                </a:cubicBezTo>
                <a:cubicBezTo>
                  <a:pt x="63" y="9"/>
                  <a:pt x="63" y="9"/>
                  <a:pt x="63" y="9"/>
                </a:cubicBezTo>
                <a:cubicBezTo>
                  <a:pt x="67" y="9"/>
                  <a:pt x="70" y="9"/>
                  <a:pt x="73" y="11"/>
                </a:cubicBezTo>
                <a:cubicBezTo>
                  <a:pt x="77" y="12"/>
                  <a:pt x="82" y="16"/>
                  <a:pt x="85" y="18"/>
                </a:cubicBezTo>
                <a:cubicBezTo>
                  <a:pt x="87" y="21"/>
                  <a:pt x="89" y="23"/>
                  <a:pt x="91" y="26"/>
                </a:cubicBezTo>
                <a:cubicBezTo>
                  <a:pt x="93" y="30"/>
                  <a:pt x="94" y="34"/>
                  <a:pt x="95" y="37"/>
                </a:cubicBezTo>
                <a:cubicBezTo>
                  <a:pt x="99" y="37"/>
                  <a:pt x="99" y="37"/>
                  <a:pt x="99" y="37"/>
                </a:cubicBezTo>
                <a:cubicBezTo>
                  <a:pt x="95" y="0"/>
                  <a:pt x="95" y="0"/>
                  <a:pt x="95" y="0"/>
                </a:cubicBezTo>
                <a:cubicBezTo>
                  <a:pt x="0" y="0"/>
                  <a:pt x="0" y="0"/>
                  <a:pt x="0" y="0"/>
                </a:cubicBezTo>
                <a:cubicBezTo>
                  <a:pt x="59" y="64"/>
                  <a:pt x="59" y="64"/>
                  <a:pt x="59" y="64"/>
                </a:cubicBezTo>
                <a:cubicBezTo>
                  <a:pt x="0" y="124"/>
                  <a:pt x="0" y="124"/>
                  <a:pt x="0" y="124"/>
                </a:cubicBezTo>
                <a:lnTo>
                  <a:pt x="95" y="124"/>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24" name="Freeform 63">
            <a:extLst>
              <a:ext uri="{FF2B5EF4-FFF2-40B4-BE49-F238E27FC236}">
                <a16:creationId xmlns:a16="http://schemas.microsoft.com/office/drawing/2014/main" id="{9B4E4B7D-0577-8C6B-2C1C-8DA6DADA4158}"/>
              </a:ext>
            </a:extLst>
          </p:cNvPr>
          <p:cNvSpPr>
            <a:spLocks noEditPoints="1"/>
          </p:cNvSpPr>
          <p:nvPr/>
        </p:nvSpPr>
        <p:spPr bwMode="auto">
          <a:xfrm>
            <a:off x="4856685" y="3394307"/>
            <a:ext cx="448312" cy="558467"/>
          </a:xfrm>
          <a:custGeom>
            <a:avLst/>
            <a:gdLst>
              <a:gd name="T0" fmla="*/ 130 w 132"/>
              <a:gd name="T1" fmla="*/ 156 h 165"/>
              <a:gd name="T2" fmla="*/ 122 w 132"/>
              <a:gd name="T3" fmla="*/ 140 h 165"/>
              <a:gd name="T4" fmla="*/ 109 w 132"/>
              <a:gd name="T5" fmla="*/ 107 h 165"/>
              <a:gd name="T6" fmla="*/ 119 w 132"/>
              <a:gd name="T7" fmla="*/ 99 h 165"/>
              <a:gd name="T8" fmla="*/ 81 w 132"/>
              <a:gd name="T9" fmla="*/ 51 h 165"/>
              <a:gd name="T10" fmla="*/ 70 w 132"/>
              <a:gd name="T11" fmla="*/ 30 h 165"/>
              <a:gd name="T12" fmla="*/ 74 w 132"/>
              <a:gd name="T13" fmla="*/ 21 h 165"/>
              <a:gd name="T14" fmla="*/ 70 w 132"/>
              <a:gd name="T15" fmla="*/ 0 h 165"/>
              <a:gd name="T16" fmla="*/ 58 w 132"/>
              <a:gd name="T17" fmla="*/ 4 h 165"/>
              <a:gd name="T18" fmla="*/ 62 w 132"/>
              <a:gd name="T19" fmla="*/ 25 h 165"/>
              <a:gd name="T20" fmla="*/ 49 w 132"/>
              <a:gd name="T21" fmla="*/ 45 h 165"/>
              <a:gd name="T22" fmla="*/ 27 w 132"/>
              <a:gd name="T23" fmla="*/ 99 h 165"/>
              <a:gd name="T24" fmla="*/ 12 w 132"/>
              <a:gd name="T25" fmla="*/ 107 h 165"/>
              <a:gd name="T26" fmla="*/ 6 w 132"/>
              <a:gd name="T27" fmla="*/ 139 h 165"/>
              <a:gd name="T28" fmla="*/ 2 w 132"/>
              <a:gd name="T29" fmla="*/ 156 h 165"/>
              <a:gd name="T30" fmla="*/ 0 w 132"/>
              <a:gd name="T31" fmla="*/ 165 h 165"/>
              <a:gd name="T32" fmla="*/ 5 w 132"/>
              <a:gd name="T33" fmla="*/ 158 h 165"/>
              <a:gd name="T34" fmla="*/ 18 w 132"/>
              <a:gd name="T35" fmla="*/ 142 h 165"/>
              <a:gd name="T36" fmla="*/ 58 w 132"/>
              <a:gd name="T37" fmla="*/ 107 h 165"/>
              <a:gd name="T38" fmla="*/ 62 w 132"/>
              <a:gd name="T39" fmla="*/ 120 h 165"/>
              <a:gd name="T40" fmla="*/ 74 w 132"/>
              <a:gd name="T41" fmla="*/ 115 h 165"/>
              <a:gd name="T42" fmla="*/ 96 w 132"/>
              <a:gd name="T43" fmla="*/ 107 h 165"/>
              <a:gd name="T44" fmla="*/ 118 w 132"/>
              <a:gd name="T45" fmla="*/ 141 h 165"/>
              <a:gd name="T46" fmla="*/ 127 w 132"/>
              <a:gd name="T47" fmla="*/ 158 h 165"/>
              <a:gd name="T48" fmla="*/ 66 w 132"/>
              <a:gd name="T49" fmla="*/ 37 h 165"/>
              <a:gd name="T50" fmla="*/ 66 w 132"/>
              <a:gd name="T51" fmla="*/ 54 h 165"/>
              <a:gd name="T52" fmla="*/ 66 w 132"/>
              <a:gd name="T53" fmla="*/ 37 h 165"/>
              <a:gd name="T54" fmla="*/ 74 w 132"/>
              <a:gd name="T55" fmla="*/ 91 h 165"/>
              <a:gd name="T56" fmla="*/ 62 w 132"/>
              <a:gd name="T57" fmla="*/ 87 h 165"/>
              <a:gd name="T58" fmla="*/ 58 w 132"/>
              <a:gd name="T59" fmla="*/ 99 h 165"/>
              <a:gd name="T60" fmla="*/ 59 w 132"/>
              <a:gd name="T61" fmla="*/ 60 h 165"/>
              <a:gd name="T62" fmla="*/ 73 w 132"/>
              <a:gd name="T63" fmla="*/ 60 h 165"/>
              <a:gd name="T64" fmla="*/ 74 w 132"/>
              <a:gd name="T65" fmla="*/ 9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165">
                <a:moveTo>
                  <a:pt x="132" y="165"/>
                </a:moveTo>
                <a:cubicBezTo>
                  <a:pt x="130" y="156"/>
                  <a:pt x="130" y="156"/>
                  <a:pt x="130" y="156"/>
                </a:cubicBezTo>
                <a:cubicBezTo>
                  <a:pt x="130" y="156"/>
                  <a:pt x="130" y="156"/>
                  <a:pt x="130" y="156"/>
                </a:cubicBezTo>
                <a:cubicBezTo>
                  <a:pt x="122" y="140"/>
                  <a:pt x="122" y="140"/>
                  <a:pt x="122" y="140"/>
                </a:cubicBezTo>
                <a:cubicBezTo>
                  <a:pt x="126" y="139"/>
                  <a:pt x="126" y="139"/>
                  <a:pt x="126" y="139"/>
                </a:cubicBezTo>
                <a:cubicBezTo>
                  <a:pt x="109" y="107"/>
                  <a:pt x="109" y="107"/>
                  <a:pt x="109" y="107"/>
                </a:cubicBezTo>
                <a:cubicBezTo>
                  <a:pt x="119" y="107"/>
                  <a:pt x="119" y="107"/>
                  <a:pt x="119" y="107"/>
                </a:cubicBezTo>
                <a:cubicBezTo>
                  <a:pt x="119" y="99"/>
                  <a:pt x="119" y="99"/>
                  <a:pt x="119" y="99"/>
                </a:cubicBezTo>
                <a:cubicBezTo>
                  <a:pt x="105" y="99"/>
                  <a:pt x="105" y="99"/>
                  <a:pt x="105" y="99"/>
                </a:cubicBezTo>
                <a:cubicBezTo>
                  <a:pt x="81" y="51"/>
                  <a:pt x="81" y="51"/>
                  <a:pt x="81" y="51"/>
                </a:cubicBezTo>
                <a:cubicBezTo>
                  <a:pt x="82" y="49"/>
                  <a:pt x="82" y="47"/>
                  <a:pt x="82" y="45"/>
                </a:cubicBezTo>
                <a:cubicBezTo>
                  <a:pt x="82" y="38"/>
                  <a:pt x="77" y="32"/>
                  <a:pt x="70" y="30"/>
                </a:cubicBezTo>
                <a:cubicBezTo>
                  <a:pt x="70" y="25"/>
                  <a:pt x="70" y="25"/>
                  <a:pt x="70" y="25"/>
                </a:cubicBezTo>
                <a:cubicBezTo>
                  <a:pt x="72" y="25"/>
                  <a:pt x="74" y="23"/>
                  <a:pt x="74" y="21"/>
                </a:cubicBezTo>
                <a:cubicBezTo>
                  <a:pt x="74" y="4"/>
                  <a:pt x="74" y="4"/>
                  <a:pt x="74" y="4"/>
                </a:cubicBezTo>
                <a:cubicBezTo>
                  <a:pt x="74" y="2"/>
                  <a:pt x="72" y="0"/>
                  <a:pt x="70" y="0"/>
                </a:cubicBezTo>
                <a:cubicBezTo>
                  <a:pt x="62" y="0"/>
                  <a:pt x="62" y="0"/>
                  <a:pt x="62" y="0"/>
                </a:cubicBezTo>
                <a:cubicBezTo>
                  <a:pt x="59" y="0"/>
                  <a:pt x="58" y="2"/>
                  <a:pt x="58" y="4"/>
                </a:cubicBezTo>
                <a:cubicBezTo>
                  <a:pt x="58" y="21"/>
                  <a:pt x="58" y="21"/>
                  <a:pt x="58" y="21"/>
                </a:cubicBezTo>
                <a:cubicBezTo>
                  <a:pt x="58" y="23"/>
                  <a:pt x="59" y="25"/>
                  <a:pt x="62" y="25"/>
                </a:cubicBezTo>
                <a:cubicBezTo>
                  <a:pt x="62" y="30"/>
                  <a:pt x="62" y="30"/>
                  <a:pt x="62" y="30"/>
                </a:cubicBezTo>
                <a:cubicBezTo>
                  <a:pt x="55" y="32"/>
                  <a:pt x="49" y="38"/>
                  <a:pt x="49" y="45"/>
                </a:cubicBezTo>
                <a:cubicBezTo>
                  <a:pt x="49" y="48"/>
                  <a:pt x="50" y="50"/>
                  <a:pt x="50" y="51"/>
                </a:cubicBezTo>
                <a:cubicBezTo>
                  <a:pt x="27" y="99"/>
                  <a:pt x="27" y="99"/>
                  <a:pt x="27" y="99"/>
                </a:cubicBezTo>
                <a:cubicBezTo>
                  <a:pt x="12" y="99"/>
                  <a:pt x="12" y="99"/>
                  <a:pt x="12" y="99"/>
                </a:cubicBezTo>
                <a:cubicBezTo>
                  <a:pt x="12" y="107"/>
                  <a:pt x="12" y="107"/>
                  <a:pt x="12" y="107"/>
                </a:cubicBezTo>
                <a:cubicBezTo>
                  <a:pt x="22" y="107"/>
                  <a:pt x="22" y="107"/>
                  <a:pt x="22" y="107"/>
                </a:cubicBezTo>
                <a:cubicBezTo>
                  <a:pt x="6" y="139"/>
                  <a:pt x="6" y="139"/>
                  <a:pt x="6" y="139"/>
                </a:cubicBezTo>
                <a:cubicBezTo>
                  <a:pt x="10" y="140"/>
                  <a:pt x="10" y="140"/>
                  <a:pt x="10" y="140"/>
                </a:cubicBezTo>
                <a:cubicBezTo>
                  <a:pt x="2" y="156"/>
                  <a:pt x="2" y="156"/>
                  <a:pt x="2" y="156"/>
                </a:cubicBezTo>
                <a:cubicBezTo>
                  <a:pt x="2" y="156"/>
                  <a:pt x="2" y="156"/>
                  <a:pt x="2" y="156"/>
                </a:cubicBezTo>
                <a:cubicBezTo>
                  <a:pt x="0" y="165"/>
                  <a:pt x="0" y="165"/>
                  <a:pt x="0" y="165"/>
                </a:cubicBezTo>
                <a:cubicBezTo>
                  <a:pt x="5" y="158"/>
                  <a:pt x="5" y="158"/>
                  <a:pt x="5" y="158"/>
                </a:cubicBezTo>
                <a:cubicBezTo>
                  <a:pt x="5" y="158"/>
                  <a:pt x="5" y="158"/>
                  <a:pt x="5" y="158"/>
                </a:cubicBezTo>
                <a:cubicBezTo>
                  <a:pt x="14" y="141"/>
                  <a:pt x="14" y="141"/>
                  <a:pt x="14" y="141"/>
                </a:cubicBezTo>
                <a:cubicBezTo>
                  <a:pt x="18" y="142"/>
                  <a:pt x="18" y="142"/>
                  <a:pt x="18" y="142"/>
                </a:cubicBezTo>
                <a:cubicBezTo>
                  <a:pt x="35" y="107"/>
                  <a:pt x="35" y="107"/>
                  <a:pt x="35" y="107"/>
                </a:cubicBezTo>
                <a:cubicBezTo>
                  <a:pt x="58" y="107"/>
                  <a:pt x="58" y="107"/>
                  <a:pt x="58" y="107"/>
                </a:cubicBezTo>
                <a:cubicBezTo>
                  <a:pt x="58" y="115"/>
                  <a:pt x="58" y="115"/>
                  <a:pt x="58" y="115"/>
                </a:cubicBezTo>
                <a:cubicBezTo>
                  <a:pt x="58" y="118"/>
                  <a:pt x="59" y="120"/>
                  <a:pt x="62" y="120"/>
                </a:cubicBezTo>
                <a:cubicBezTo>
                  <a:pt x="70" y="120"/>
                  <a:pt x="70" y="120"/>
                  <a:pt x="70" y="120"/>
                </a:cubicBezTo>
                <a:cubicBezTo>
                  <a:pt x="72" y="120"/>
                  <a:pt x="74" y="118"/>
                  <a:pt x="74" y="115"/>
                </a:cubicBezTo>
                <a:cubicBezTo>
                  <a:pt x="74" y="107"/>
                  <a:pt x="74" y="107"/>
                  <a:pt x="74" y="107"/>
                </a:cubicBezTo>
                <a:cubicBezTo>
                  <a:pt x="96" y="107"/>
                  <a:pt x="96" y="107"/>
                  <a:pt x="96" y="107"/>
                </a:cubicBezTo>
                <a:cubicBezTo>
                  <a:pt x="114" y="142"/>
                  <a:pt x="114" y="142"/>
                  <a:pt x="114" y="142"/>
                </a:cubicBezTo>
                <a:cubicBezTo>
                  <a:pt x="118" y="141"/>
                  <a:pt x="118" y="141"/>
                  <a:pt x="118" y="141"/>
                </a:cubicBezTo>
                <a:cubicBezTo>
                  <a:pt x="127" y="158"/>
                  <a:pt x="127" y="158"/>
                  <a:pt x="127" y="158"/>
                </a:cubicBezTo>
                <a:cubicBezTo>
                  <a:pt x="127" y="158"/>
                  <a:pt x="127" y="158"/>
                  <a:pt x="127" y="158"/>
                </a:cubicBezTo>
                <a:lnTo>
                  <a:pt x="132" y="165"/>
                </a:lnTo>
                <a:close/>
                <a:moveTo>
                  <a:pt x="66" y="37"/>
                </a:moveTo>
                <a:cubicBezTo>
                  <a:pt x="70" y="37"/>
                  <a:pt x="74" y="41"/>
                  <a:pt x="74" y="45"/>
                </a:cubicBezTo>
                <a:cubicBezTo>
                  <a:pt x="74" y="50"/>
                  <a:pt x="70" y="54"/>
                  <a:pt x="66" y="54"/>
                </a:cubicBezTo>
                <a:cubicBezTo>
                  <a:pt x="61" y="54"/>
                  <a:pt x="58" y="50"/>
                  <a:pt x="58" y="45"/>
                </a:cubicBezTo>
                <a:cubicBezTo>
                  <a:pt x="58" y="41"/>
                  <a:pt x="61" y="37"/>
                  <a:pt x="66" y="37"/>
                </a:cubicBezTo>
                <a:close/>
                <a:moveTo>
                  <a:pt x="74" y="99"/>
                </a:moveTo>
                <a:cubicBezTo>
                  <a:pt x="74" y="91"/>
                  <a:pt x="74" y="91"/>
                  <a:pt x="74" y="91"/>
                </a:cubicBezTo>
                <a:cubicBezTo>
                  <a:pt x="74" y="88"/>
                  <a:pt x="72" y="87"/>
                  <a:pt x="70" y="87"/>
                </a:cubicBezTo>
                <a:cubicBezTo>
                  <a:pt x="62" y="87"/>
                  <a:pt x="62" y="87"/>
                  <a:pt x="62" y="87"/>
                </a:cubicBezTo>
                <a:cubicBezTo>
                  <a:pt x="59" y="87"/>
                  <a:pt x="58" y="88"/>
                  <a:pt x="58" y="91"/>
                </a:cubicBezTo>
                <a:cubicBezTo>
                  <a:pt x="58" y="99"/>
                  <a:pt x="58" y="99"/>
                  <a:pt x="58" y="99"/>
                </a:cubicBezTo>
                <a:cubicBezTo>
                  <a:pt x="39" y="99"/>
                  <a:pt x="39" y="99"/>
                  <a:pt x="39" y="99"/>
                </a:cubicBezTo>
                <a:cubicBezTo>
                  <a:pt x="59" y="60"/>
                  <a:pt x="59" y="60"/>
                  <a:pt x="59" y="60"/>
                </a:cubicBezTo>
                <a:cubicBezTo>
                  <a:pt x="61" y="61"/>
                  <a:pt x="63" y="62"/>
                  <a:pt x="66" y="62"/>
                </a:cubicBezTo>
                <a:cubicBezTo>
                  <a:pt x="68" y="62"/>
                  <a:pt x="71" y="61"/>
                  <a:pt x="73" y="60"/>
                </a:cubicBezTo>
                <a:cubicBezTo>
                  <a:pt x="92" y="99"/>
                  <a:pt x="92" y="99"/>
                  <a:pt x="92" y="99"/>
                </a:cubicBezTo>
                <a:lnTo>
                  <a:pt x="74" y="99"/>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cs typeface="+mn-ea"/>
              <a:sym typeface="+mn-lt"/>
            </a:endParaRPr>
          </a:p>
        </p:txBody>
      </p:sp>
      <p:sp>
        <p:nvSpPr>
          <p:cNvPr id="15" name="灯片编号占位符 2">
            <a:extLst>
              <a:ext uri="{FF2B5EF4-FFF2-40B4-BE49-F238E27FC236}">
                <a16:creationId xmlns:a16="http://schemas.microsoft.com/office/drawing/2014/main" id="{4EF1923C-50A1-1C35-ED5C-3E9141F9E82E}"/>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t>19</a:t>
            </a:fld>
            <a:endParaRPr lang="en-US" dirty="0">
              <a:solidFill>
                <a:srgbClr val="000000">
                  <a:tint val="75000"/>
                </a:srgbClr>
              </a:solidFill>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dirty="0">
                <a:cs typeface="+mn-ea"/>
                <a:sym typeface="+mn-lt"/>
              </a:rPr>
              <a:t>目录</a:t>
            </a:r>
            <a:endParaRPr lang="en-US" dirty="0">
              <a:cs typeface="+mn-ea"/>
              <a:sym typeface="+mn-lt"/>
            </a:endParaRPr>
          </a:p>
        </p:txBody>
      </p:sp>
      <p:sp>
        <p:nvSpPr>
          <p:cNvPr id="3" name="文本占位符 2"/>
          <p:cNvSpPr>
            <a:spLocks noGrp="1"/>
          </p:cNvSpPr>
          <p:nvPr>
            <p:ph type="body" sz="quarter" idx="10"/>
          </p:nvPr>
        </p:nvSpPr>
        <p:spPr/>
        <p:txBody>
          <a:bodyPr/>
          <a:lstStyle/>
          <a:p>
            <a:pPr algn="dist"/>
            <a:r>
              <a:rPr lang="zh-CN" altLang="en-US" dirty="0">
                <a:cs typeface="+mn-ea"/>
                <a:sym typeface="+mn-lt"/>
              </a:rPr>
              <a:t>研究背景与意义</a:t>
            </a:r>
            <a:endParaRPr lang="en-US" dirty="0">
              <a:cs typeface="+mn-ea"/>
              <a:sym typeface="+mn-lt"/>
            </a:endParaRPr>
          </a:p>
        </p:txBody>
      </p:sp>
      <p:sp>
        <p:nvSpPr>
          <p:cNvPr id="4" name="文本占位符 3"/>
          <p:cNvSpPr>
            <a:spLocks noGrp="1"/>
          </p:cNvSpPr>
          <p:nvPr>
            <p:ph type="body" sz="quarter" idx="11"/>
          </p:nvPr>
        </p:nvSpPr>
        <p:spPr/>
        <p:txBody>
          <a:bodyPr/>
          <a:lstStyle/>
          <a:p>
            <a:r>
              <a:rPr lang="en-US" dirty="0">
                <a:cs typeface="+mn-ea"/>
                <a:sym typeface="+mn-lt"/>
              </a:rPr>
              <a:t> Background and significance</a:t>
            </a:r>
          </a:p>
        </p:txBody>
      </p:sp>
      <p:sp>
        <p:nvSpPr>
          <p:cNvPr id="5" name="文本占位符 4"/>
          <p:cNvSpPr>
            <a:spLocks noGrp="1"/>
          </p:cNvSpPr>
          <p:nvPr>
            <p:ph type="body" sz="quarter" idx="12"/>
          </p:nvPr>
        </p:nvSpPr>
        <p:spPr>
          <a:xfrm>
            <a:off x="515938" y="1446401"/>
            <a:ext cx="870751" cy="830997"/>
          </a:xfrm>
        </p:spPr>
        <p:txBody>
          <a:bodyPr/>
          <a:lstStyle/>
          <a:p>
            <a:r>
              <a:rPr lang="en-US" altLang="zh-CN" dirty="0">
                <a:latin typeface="+mn-lt"/>
                <a:sym typeface="+mn-lt"/>
              </a:rPr>
              <a:t>01</a:t>
            </a:r>
            <a:endParaRPr lang="en-US" dirty="0">
              <a:latin typeface="+mn-lt"/>
              <a:sym typeface="+mn-lt"/>
            </a:endParaRPr>
          </a:p>
        </p:txBody>
      </p:sp>
      <p:sp>
        <p:nvSpPr>
          <p:cNvPr id="6" name="文本占位符 5"/>
          <p:cNvSpPr>
            <a:spLocks noGrp="1"/>
          </p:cNvSpPr>
          <p:nvPr>
            <p:ph type="body" sz="quarter" idx="13"/>
          </p:nvPr>
        </p:nvSpPr>
        <p:spPr/>
        <p:txBody>
          <a:bodyPr/>
          <a:lstStyle/>
          <a:p>
            <a:pPr algn="dist"/>
            <a:r>
              <a:rPr lang="zh-CN" altLang="en-US" dirty="0">
                <a:cs typeface="+mn-ea"/>
                <a:sym typeface="+mn-lt"/>
              </a:rPr>
              <a:t>主要工作内容</a:t>
            </a:r>
            <a:endParaRPr lang="en-US" dirty="0">
              <a:cs typeface="+mn-ea"/>
              <a:sym typeface="+mn-lt"/>
            </a:endParaRPr>
          </a:p>
        </p:txBody>
      </p:sp>
      <p:sp>
        <p:nvSpPr>
          <p:cNvPr id="7" name="文本占位符 6"/>
          <p:cNvSpPr>
            <a:spLocks noGrp="1"/>
          </p:cNvSpPr>
          <p:nvPr>
            <p:ph type="body" sz="quarter" idx="14"/>
          </p:nvPr>
        </p:nvSpPr>
        <p:spPr/>
        <p:txBody>
          <a:bodyPr/>
          <a:lstStyle/>
          <a:p>
            <a:r>
              <a:rPr lang="en-US" dirty="0">
                <a:cs typeface="+mn-ea"/>
                <a:sym typeface="+mn-lt"/>
              </a:rPr>
              <a:t>Work contents</a:t>
            </a:r>
          </a:p>
        </p:txBody>
      </p:sp>
      <p:sp>
        <p:nvSpPr>
          <p:cNvPr id="8" name="文本占位符 7"/>
          <p:cNvSpPr>
            <a:spLocks noGrp="1"/>
          </p:cNvSpPr>
          <p:nvPr>
            <p:ph type="body" sz="quarter" idx="15"/>
          </p:nvPr>
        </p:nvSpPr>
        <p:spPr>
          <a:xfrm>
            <a:off x="1312779" y="2871208"/>
            <a:ext cx="870751" cy="830997"/>
          </a:xfrm>
        </p:spPr>
        <p:txBody>
          <a:bodyPr/>
          <a:lstStyle/>
          <a:p>
            <a:r>
              <a:rPr lang="en-US" altLang="zh-CN" dirty="0">
                <a:latin typeface="+mn-lt"/>
                <a:sym typeface="+mn-lt"/>
              </a:rPr>
              <a:t>02</a:t>
            </a:r>
            <a:endParaRPr lang="en-US" dirty="0">
              <a:latin typeface="+mn-lt"/>
              <a:sym typeface="+mn-lt"/>
            </a:endParaRPr>
          </a:p>
        </p:txBody>
      </p:sp>
      <p:sp>
        <p:nvSpPr>
          <p:cNvPr id="9" name="文本占位符 8"/>
          <p:cNvSpPr>
            <a:spLocks noGrp="1"/>
          </p:cNvSpPr>
          <p:nvPr>
            <p:ph type="body" sz="quarter" idx="19"/>
          </p:nvPr>
        </p:nvSpPr>
        <p:spPr/>
        <p:txBody>
          <a:bodyPr/>
          <a:lstStyle/>
          <a:p>
            <a:pPr algn="dist"/>
            <a:r>
              <a:rPr lang="zh-CN" altLang="en-US" dirty="0">
                <a:cs typeface="+mn-ea"/>
                <a:sym typeface="+mn-lt"/>
              </a:rPr>
              <a:t>成果展示</a:t>
            </a:r>
            <a:endParaRPr lang="en-US" dirty="0">
              <a:cs typeface="+mn-ea"/>
              <a:sym typeface="+mn-lt"/>
            </a:endParaRPr>
          </a:p>
        </p:txBody>
      </p:sp>
      <p:sp>
        <p:nvSpPr>
          <p:cNvPr id="10" name="文本占位符 9"/>
          <p:cNvSpPr>
            <a:spLocks noGrp="1"/>
          </p:cNvSpPr>
          <p:nvPr>
            <p:ph type="body" sz="quarter" idx="20"/>
          </p:nvPr>
        </p:nvSpPr>
        <p:spPr/>
        <p:txBody>
          <a:bodyPr/>
          <a:lstStyle/>
          <a:p>
            <a:pPr marL="0" marR="0" lvl="0" indent="0" defTabSz="914400" rtl="0" eaLnBrk="1" fontAlgn="auto" latinLnBrk="0" hangingPunct="1">
              <a:lnSpc>
                <a:spcPct val="100000"/>
              </a:lnSpc>
              <a:spcBef>
                <a:spcPts val="0"/>
              </a:spcBef>
              <a:spcAft>
                <a:spcPts val="0"/>
              </a:spcAft>
              <a:buClrTx/>
              <a:buSzTx/>
              <a:buFontTx/>
              <a:buNone/>
              <a:defRPr/>
            </a:pPr>
            <a:r>
              <a:rPr lang="en-US" altLang="zh-CN" sz="1400" dirty="0">
                <a:solidFill>
                  <a:schemeClr val="bg1">
                    <a:lumMod val="65000"/>
                  </a:schemeClr>
                </a:solidFill>
                <a:ea typeface="等线" panose="02010600030101010101" charset="-122"/>
              </a:rPr>
              <a:t>Product display</a:t>
            </a:r>
            <a:endParaRPr kumimoji="0" lang="zh-CN" altLang="en-US" sz="1400" u="none" strike="noStrike" kern="1200" cap="none" spc="0" normalizeH="0" baseline="0" noProof="0" dirty="0">
              <a:ln>
                <a:noFill/>
              </a:ln>
              <a:solidFill>
                <a:schemeClr val="bg1">
                  <a:lumMod val="65000"/>
                </a:schemeClr>
              </a:solidFill>
              <a:effectLst/>
              <a:uLnTx/>
              <a:uFillTx/>
              <a:ea typeface="等线" panose="02010600030101010101" charset="-122"/>
              <a:cs typeface="+mn-cs"/>
            </a:endParaRPr>
          </a:p>
        </p:txBody>
      </p:sp>
      <p:sp>
        <p:nvSpPr>
          <p:cNvPr id="11" name="文本占位符 10"/>
          <p:cNvSpPr>
            <a:spLocks noGrp="1"/>
          </p:cNvSpPr>
          <p:nvPr>
            <p:ph type="body" sz="quarter" idx="21"/>
          </p:nvPr>
        </p:nvSpPr>
        <p:spPr>
          <a:xfrm>
            <a:off x="5116762" y="1446401"/>
            <a:ext cx="870751" cy="830997"/>
          </a:xfrm>
        </p:spPr>
        <p:txBody>
          <a:bodyPr/>
          <a:lstStyle/>
          <a:p>
            <a:r>
              <a:rPr lang="en-US" altLang="zh-CN" dirty="0">
                <a:latin typeface="+mn-lt"/>
                <a:sym typeface="+mn-lt"/>
              </a:rPr>
              <a:t>03</a:t>
            </a:r>
            <a:endParaRPr lang="en-US" dirty="0">
              <a:latin typeface="+mn-lt"/>
              <a:sym typeface="+mn-lt"/>
            </a:endParaRPr>
          </a:p>
        </p:txBody>
      </p:sp>
      <p:sp>
        <p:nvSpPr>
          <p:cNvPr id="12" name="文本占位符 11"/>
          <p:cNvSpPr>
            <a:spLocks noGrp="1"/>
          </p:cNvSpPr>
          <p:nvPr>
            <p:ph type="body" sz="quarter" idx="22"/>
          </p:nvPr>
        </p:nvSpPr>
        <p:spPr/>
        <p:txBody>
          <a:bodyPr/>
          <a:lstStyle/>
          <a:p>
            <a:pPr algn="dist"/>
            <a:r>
              <a:rPr lang="zh-CN" altLang="en-US" dirty="0">
                <a:cs typeface="+mn-ea"/>
                <a:sym typeface="+mn-lt"/>
              </a:rPr>
              <a:t>总结与展望</a:t>
            </a:r>
            <a:endParaRPr lang="en-US" dirty="0">
              <a:cs typeface="+mn-ea"/>
              <a:sym typeface="+mn-lt"/>
            </a:endParaRPr>
          </a:p>
        </p:txBody>
      </p:sp>
      <p:sp>
        <p:nvSpPr>
          <p:cNvPr id="13" name="文本占位符 12"/>
          <p:cNvSpPr>
            <a:spLocks noGrp="1"/>
          </p:cNvSpPr>
          <p:nvPr>
            <p:ph type="body" sz="quarter" idx="23"/>
          </p:nvPr>
        </p:nvSpPr>
        <p:spPr/>
        <p:txBody>
          <a:bodyPr/>
          <a:lstStyle/>
          <a:p>
            <a:r>
              <a:rPr lang="en-US" dirty="0">
                <a:cs typeface="+mn-ea"/>
                <a:sym typeface="+mn-lt"/>
              </a:rPr>
              <a:t>Summary and outlook</a:t>
            </a:r>
          </a:p>
        </p:txBody>
      </p:sp>
      <p:sp>
        <p:nvSpPr>
          <p:cNvPr id="14" name="文本占位符 13"/>
          <p:cNvSpPr>
            <a:spLocks noGrp="1"/>
          </p:cNvSpPr>
          <p:nvPr>
            <p:ph type="body" sz="quarter" idx="24"/>
          </p:nvPr>
        </p:nvSpPr>
        <p:spPr>
          <a:xfrm>
            <a:off x="5960892" y="2871208"/>
            <a:ext cx="870751" cy="830997"/>
          </a:xfrm>
        </p:spPr>
        <p:txBody>
          <a:bodyPr/>
          <a:lstStyle/>
          <a:p>
            <a:r>
              <a:rPr lang="en-US" altLang="zh-CN" dirty="0">
                <a:latin typeface="+mn-lt"/>
                <a:sym typeface="+mn-lt"/>
              </a:rPr>
              <a:t>04</a:t>
            </a:r>
            <a:endParaRPr lang="en-US" dirty="0">
              <a:latin typeface="+mn-lt"/>
              <a:sym typeface="+mn-lt"/>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pPr algn="dist"/>
            <a:r>
              <a:rPr lang="zh-CN" altLang="en-US" dirty="0">
                <a:cs typeface="+mn-ea"/>
                <a:sym typeface="+mn-lt"/>
              </a:rPr>
              <a:t>恳请各位老师批评指正</a:t>
            </a:r>
            <a:endParaRPr lang="en-US" dirty="0">
              <a:cs typeface="+mn-ea"/>
              <a:sym typeface="+mn-lt"/>
            </a:endParaRPr>
          </a:p>
        </p:txBody>
      </p:sp>
      <p:sp>
        <p:nvSpPr>
          <p:cNvPr id="6" name="内容占位符 5"/>
          <p:cNvSpPr>
            <a:spLocks noGrp="1"/>
          </p:cNvSpPr>
          <p:nvPr>
            <p:ph sz="quarter" idx="12"/>
          </p:nvPr>
        </p:nvSpPr>
        <p:spPr>
          <a:xfrm>
            <a:off x="2993123" y="4205996"/>
            <a:ext cx="2610456" cy="385504"/>
          </a:xfrm>
        </p:spPr>
        <p:txBody>
          <a:bodyPr>
            <a:normAutofit/>
          </a:bodyPr>
          <a:lstStyle/>
          <a:p>
            <a:r>
              <a:rPr lang="zh-CN" altLang="en-US" dirty="0">
                <a:cs typeface="+mn-ea"/>
                <a:sym typeface="+mn-lt"/>
              </a:rPr>
              <a:t>答辩人：</a:t>
            </a:r>
            <a:r>
              <a:rPr lang="en-US" altLang="zh-CN" dirty="0">
                <a:cs typeface="+mn-ea"/>
                <a:sym typeface="+mn-lt"/>
              </a:rPr>
              <a:t>18124666 </a:t>
            </a:r>
            <a:r>
              <a:rPr lang="zh-CN" altLang="en-US" dirty="0">
                <a:cs typeface="+mn-ea"/>
                <a:sym typeface="+mn-lt"/>
              </a:rPr>
              <a:t>诸逸冰</a:t>
            </a:r>
            <a:endParaRPr lang="en-US" altLang="zh-CN" dirty="0">
              <a:cs typeface="+mn-ea"/>
              <a:sym typeface="+mn-lt"/>
            </a:endParaRPr>
          </a:p>
        </p:txBody>
      </p:sp>
      <p:sp>
        <p:nvSpPr>
          <p:cNvPr id="5" name="内容占位符 4"/>
          <p:cNvSpPr>
            <a:spLocks noGrp="1"/>
          </p:cNvSpPr>
          <p:nvPr>
            <p:ph sz="quarter" idx="11"/>
          </p:nvPr>
        </p:nvSpPr>
        <p:spPr/>
        <p:txBody>
          <a:bodyPr>
            <a:normAutofit/>
          </a:bodyPr>
          <a:lstStyle/>
          <a:p>
            <a:r>
              <a:rPr lang="zh-CN" altLang="en-US" dirty="0">
                <a:cs typeface="+mn-ea"/>
                <a:sym typeface="+mn-lt"/>
              </a:rPr>
              <a:t>指导教师：陈伦德</a:t>
            </a:r>
            <a:endParaRPr lang="en-US" altLang="zh-CN" dirty="0">
              <a:cs typeface="+mn-ea"/>
              <a:sym typeface="+mn-lt"/>
            </a:endParaRPr>
          </a:p>
        </p:txBody>
      </p:sp>
      <p:sp>
        <p:nvSpPr>
          <p:cNvPr id="4" name="副标题 3"/>
          <p:cNvSpPr>
            <a:spLocks noGrp="1"/>
          </p:cNvSpPr>
          <p:nvPr>
            <p:ph type="body" sz="quarter" idx="13"/>
          </p:nvPr>
        </p:nvSpPr>
        <p:spPr/>
        <p:txBody>
          <a:bodyPr/>
          <a:lstStyle/>
          <a:p>
            <a:pPr algn="dist"/>
            <a:r>
              <a:rPr lang="en-US" altLang="zh-CN" dirty="0">
                <a:cs typeface="+mn-ea"/>
                <a:sym typeface="+mn-lt"/>
              </a:rPr>
              <a:t>PLEASE GIVE ME AS MUCH CRITICISM AS POSSIBLE</a:t>
            </a: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标题 10"/>
          <p:cNvSpPr>
            <a:spLocks noGrp="1"/>
          </p:cNvSpPr>
          <p:nvPr>
            <p:ph type="ctrTitle"/>
          </p:nvPr>
        </p:nvSpPr>
        <p:spPr/>
        <p:txBody>
          <a:bodyPr/>
          <a:lstStyle/>
          <a:p>
            <a:r>
              <a:rPr lang="zh-CN" altLang="en-US" dirty="0">
                <a:cs typeface="+mn-ea"/>
                <a:sym typeface="+mn-lt"/>
              </a:rPr>
              <a:t>研究背景与意义</a:t>
            </a:r>
            <a:endParaRPr lang="en-US" altLang="zh-CN" dirty="0">
              <a:cs typeface="+mn-ea"/>
              <a:sym typeface="+mn-lt"/>
            </a:endParaRPr>
          </a:p>
        </p:txBody>
      </p:sp>
      <p:sp>
        <p:nvSpPr>
          <p:cNvPr id="13" name="文本占位符 12"/>
          <p:cNvSpPr>
            <a:spLocks noGrp="1"/>
          </p:cNvSpPr>
          <p:nvPr>
            <p:ph type="body" sz="quarter" idx="12"/>
          </p:nvPr>
        </p:nvSpPr>
        <p:spPr/>
        <p:txBody>
          <a:bodyPr/>
          <a:lstStyle/>
          <a:p>
            <a:pPr indent="0">
              <a:buNone/>
            </a:pPr>
            <a:r>
              <a:rPr lang="en-US" altLang="zh-CN" dirty="0">
                <a:latin typeface="+mn-lt"/>
                <a:cs typeface="+mn-ea"/>
                <a:sym typeface="+mn-lt"/>
              </a:rPr>
              <a:t>01</a:t>
            </a:r>
            <a:endParaRPr lang="en-US" dirty="0">
              <a:latin typeface="+mn-lt"/>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梯形 27"/>
          <p:cNvSpPr/>
          <p:nvPr/>
        </p:nvSpPr>
        <p:spPr>
          <a:xfrm>
            <a:off x="515939" y="4685001"/>
            <a:ext cx="11196636" cy="1444337"/>
          </a:xfrm>
          <a:prstGeom prst="trapezoid">
            <a:avLst>
              <a:gd name="adj" fmla="val 112554"/>
            </a:avLst>
          </a:prstGeom>
          <a:gradFill>
            <a:gsLst>
              <a:gs pos="42000">
                <a:schemeClr val="accent1">
                  <a:alpha val="0"/>
                </a:schemeClr>
              </a:gs>
              <a:gs pos="100000">
                <a:schemeClr val="accent1">
                  <a:alpha val="20000"/>
                </a:schemeClr>
              </a:gs>
            </a:gsLst>
            <a:lin ang="5400000" scaled="1"/>
          </a:gradFill>
          <a:ln>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sp>
        <p:nvSpPr>
          <p:cNvPr id="31" name="梯形 30"/>
          <p:cNvSpPr/>
          <p:nvPr/>
        </p:nvSpPr>
        <p:spPr>
          <a:xfrm>
            <a:off x="1001831" y="4696766"/>
            <a:ext cx="10224852" cy="1318978"/>
          </a:xfrm>
          <a:prstGeom prst="trapezoid">
            <a:avLst>
              <a:gd name="adj" fmla="val 112554"/>
            </a:avLst>
          </a:prstGeom>
          <a:gradFill>
            <a:gsLst>
              <a:gs pos="42000">
                <a:schemeClr val="accent1">
                  <a:alpha val="0"/>
                </a:schemeClr>
              </a:gs>
              <a:gs pos="100000">
                <a:schemeClr val="accent1">
                  <a:alpha val="20000"/>
                </a:schemeClr>
              </a:gs>
            </a:gsLst>
            <a:lin ang="5400000" scaled="1"/>
          </a:gradFill>
          <a:ln>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sp>
        <p:nvSpPr>
          <p:cNvPr id="2" name="标题 1"/>
          <p:cNvSpPr>
            <a:spLocks noGrp="1"/>
          </p:cNvSpPr>
          <p:nvPr>
            <p:ph type="title"/>
          </p:nvPr>
        </p:nvSpPr>
        <p:spPr/>
        <p:txBody>
          <a:bodyPr/>
          <a:lstStyle/>
          <a:p>
            <a:r>
              <a:rPr lang="zh-CN" altLang="en-US" dirty="0">
                <a:latin typeface="+mn-lt"/>
                <a:ea typeface="+mn-ea"/>
                <a:cs typeface="+mn-ea"/>
                <a:sym typeface="+mn-lt"/>
              </a:rPr>
              <a:t>证据决策树可视化的发展现状</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4</a:t>
            </a:fld>
            <a:endParaRPr lang="en-US" dirty="0">
              <a:solidFill>
                <a:srgbClr val="000000">
                  <a:tint val="75000"/>
                </a:srgbClr>
              </a:solidFill>
              <a:cs typeface="+mn-ea"/>
              <a:sym typeface="+mn-lt"/>
            </a:endParaRPr>
          </a:p>
        </p:txBody>
      </p:sp>
      <p:grpSp>
        <p:nvGrpSpPr>
          <p:cNvPr id="8" name="组合 7"/>
          <p:cNvGrpSpPr/>
          <p:nvPr/>
        </p:nvGrpSpPr>
        <p:grpSpPr>
          <a:xfrm>
            <a:off x="2847444" y="2538901"/>
            <a:ext cx="6144380" cy="3072190"/>
            <a:chOff x="1967680" y="2171755"/>
            <a:chExt cx="7903908" cy="3951954"/>
          </a:xfrm>
        </p:grpSpPr>
        <p:sp>
          <p:nvSpPr>
            <p:cNvPr id="4" name="Oval 7"/>
            <p:cNvSpPr/>
            <p:nvPr/>
          </p:nvSpPr>
          <p:spPr>
            <a:xfrm>
              <a:off x="3803631" y="3856034"/>
              <a:ext cx="4232006" cy="2116002"/>
            </a:xfrm>
            <a:custGeom>
              <a:avLst/>
              <a:gdLst>
                <a:gd name="connsiteX0" fmla="*/ 0 w 4838700"/>
                <a:gd name="connsiteY0" fmla="*/ 2419350 h 4838700"/>
                <a:gd name="connsiteX1" fmla="*/ 2419350 w 4838700"/>
                <a:gd name="connsiteY1" fmla="*/ 0 h 4838700"/>
                <a:gd name="connsiteX2" fmla="*/ 4838700 w 4838700"/>
                <a:gd name="connsiteY2" fmla="*/ 2419350 h 4838700"/>
                <a:gd name="connsiteX3" fmla="*/ 2419350 w 4838700"/>
                <a:gd name="connsiteY3" fmla="*/ 4838700 h 4838700"/>
                <a:gd name="connsiteX4" fmla="*/ 0 w 4838700"/>
                <a:gd name="connsiteY4" fmla="*/ 2419350 h 4838700"/>
                <a:gd name="connsiteX0-1" fmla="*/ 2419350 w 4838700"/>
                <a:gd name="connsiteY0-2" fmla="*/ 4838700 h 4930140"/>
                <a:gd name="connsiteX1-3" fmla="*/ 0 w 4838700"/>
                <a:gd name="connsiteY1-4" fmla="*/ 2419350 h 4930140"/>
                <a:gd name="connsiteX2-5" fmla="*/ 2419350 w 4838700"/>
                <a:gd name="connsiteY2-6" fmla="*/ 0 h 4930140"/>
                <a:gd name="connsiteX3-7" fmla="*/ 4838700 w 4838700"/>
                <a:gd name="connsiteY3-8" fmla="*/ 2419350 h 4930140"/>
                <a:gd name="connsiteX4-9" fmla="*/ 2510790 w 4838700"/>
                <a:gd name="connsiteY4-10" fmla="*/ 4930140 h 4930140"/>
                <a:gd name="connsiteX0-11" fmla="*/ 2419350 w 4838700"/>
                <a:gd name="connsiteY0-12" fmla="*/ 4838700 h 4838700"/>
                <a:gd name="connsiteX1-13" fmla="*/ 0 w 4838700"/>
                <a:gd name="connsiteY1-14" fmla="*/ 2419350 h 4838700"/>
                <a:gd name="connsiteX2-15" fmla="*/ 2419350 w 4838700"/>
                <a:gd name="connsiteY2-16" fmla="*/ 0 h 4838700"/>
                <a:gd name="connsiteX3-17" fmla="*/ 4838700 w 4838700"/>
                <a:gd name="connsiteY3-18" fmla="*/ 2419350 h 4838700"/>
                <a:gd name="connsiteX0-19" fmla="*/ 0 w 4838700"/>
                <a:gd name="connsiteY0-20" fmla="*/ 2419350 h 2419350"/>
                <a:gd name="connsiteX1-21" fmla="*/ 2419350 w 4838700"/>
                <a:gd name="connsiteY1-22" fmla="*/ 0 h 2419350"/>
                <a:gd name="connsiteX2-23" fmla="*/ 4838700 w 4838700"/>
                <a:gd name="connsiteY2-24" fmla="*/ 2419350 h 2419350"/>
              </a:gdLst>
              <a:ahLst/>
              <a:cxnLst>
                <a:cxn ang="0">
                  <a:pos x="connsiteX0-1" y="connsiteY0-2"/>
                </a:cxn>
                <a:cxn ang="0">
                  <a:pos x="connsiteX1-3" y="connsiteY1-4"/>
                </a:cxn>
                <a:cxn ang="0">
                  <a:pos x="connsiteX2-5" y="connsiteY2-6"/>
                </a:cxn>
              </a:cxnLst>
              <a:rect l="l" t="t" r="r" b="b"/>
              <a:pathLst>
                <a:path w="4838700" h="2419350">
                  <a:moveTo>
                    <a:pt x="0" y="2419350"/>
                  </a:moveTo>
                  <a:cubicBezTo>
                    <a:pt x="0" y="1083180"/>
                    <a:pt x="1083180" y="0"/>
                    <a:pt x="2419350" y="0"/>
                  </a:cubicBezTo>
                  <a:cubicBezTo>
                    <a:pt x="3755520" y="0"/>
                    <a:pt x="4838700" y="1083180"/>
                    <a:pt x="4838700" y="2419350"/>
                  </a:cubicBezTo>
                </a:path>
              </a:pathLst>
            </a:custGeom>
            <a:noFill/>
            <a:ln w="6350" cap="rnd" cmpd="sng" algn="ctr">
              <a:solidFill>
                <a:schemeClr val="bg1">
                  <a:lumMod val="75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cs typeface="+mn-ea"/>
                <a:sym typeface="+mn-lt"/>
              </a:endParaRPr>
            </a:p>
          </p:txBody>
        </p:sp>
        <p:sp>
          <p:nvSpPr>
            <p:cNvPr id="5" name="Oval 58"/>
            <p:cNvSpPr/>
            <p:nvPr/>
          </p:nvSpPr>
          <p:spPr>
            <a:xfrm>
              <a:off x="2974911" y="3058828"/>
              <a:ext cx="5889447" cy="2944723"/>
            </a:xfrm>
            <a:custGeom>
              <a:avLst/>
              <a:gdLst>
                <a:gd name="connsiteX0" fmla="*/ 0 w 6370074"/>
                <a:gd name="connsiteY0" fmla="*/ 3185037 h 6370074"/>
                <a:gd name="connsiteX1" fmla="*/ 3185037 w 6370074"/>
                <a:gd name="connsiteY1" fmla="*/ 0 h 6370074"/>
                <a:gd name="connsiteX2" fmla="*/ 6370074 w 6370074"/>
                <a:gd name="connsiteY2" fmla="*/ 3185037 h 6370074"/>
                <a:gd name="connsiteX3" fmla="*/ 3185037 w 6370074"/>
                <a:gd name="connsiteY3" fmla="*/ 6370074 h 6370074"/>
                <a:gd name="connsiteX4" fmla="*/ 0 w 6370074"/>
                <a:gd name="connsiteY4" fmla="*/ 3185037 h 6370074"/>
                <a:gd name="connsiteX0-1" fmla="*/ 3185037 w 6370074"/>
                <a:gd name="connsiteY0-2" fmla="*/ 6370074 h 6461514"/>
                <a:gd name="connsiteX1-3" fmla="*/ 0 w 6370074"/>
                <a:gd name="connsiteY1-4" fmla="*/ 3185037 h 6461514"/>
                <a:gd name="connsiteX2-5" fmla="*/ 3185037 w 6370074"/>
                <a:gd name="connsiteY2-6" fmla="*/ 0 h 6461514"/>
                <a:gd name="connsiteX3-7" fmla="*/ 6370074 w 6370074"/>
                <a:gd name="connsiteY3-8" fmla="*/ 3185037 h 6461514"/>
                <a:gd name="connsiteX4-9" fmla="*/ 3276477 w 6370074"/>
                <a:gd name="connsiteY4-10" fmla="*/ 6461514 h 6461514"/>
                <a:gd name="connsiteX0-11" fmla="*/ 3185037 w 6370074"/>
                <a:gd name="connsiteY0-12" fmla="*/ 6370074 h 6370074"/>
                <a:gd name="connsiteX1-13" fmla="*/ 0 w 6370074"/>
                <a:gd name="connsiteY1-14" fmla="*/ 3185037 h 6370074"/>
                <a:gd name="connsiteX2-15" fmla="*/ 3185037 w 6370074"/>
                <a:gd name="connsiteY2-16" fmla="*/ 0 h 6370074"/>
                <a:gd name="connsiteX3-17" fmla="*/ 6370074 w 6370074"/>
                <a:gd name="connsiteY3-18" fmla="*/ 3185037 h 6370074"/>
                <a:gd name="connsiteX0-19" fmla="*/ 0 w 6370074"/>
                <a:gd name="connsiteY0-20" fmla="*/ 3185037 h 3185037"/>
                <a:gd name="connsiteX1-21" fmla="*/ 3185037 w 6370074"/>
                <a:gd name="connsiteY1-22" fmla="*/ 0 h 3185037"/>
                <a:gd name="connsiteX2-23" fmla="*/ 6370074 w 6370074"/>
                <a:gd name="connsiteY2-24" fmla="*/ 3185037 h 3185037"/>
              </a:gdLst>
              <a:ahLst/>
              <a:cxnLst>
                <a:cxn ang="0">
                  <a:pos x="connsiteX0-1" y="connsiteY0-2"/>
                </a:cxn>
                <a:cxn ang="0">
                  <a:pos x="connsiteX1-3" y="connsiteY1-4"/>
                </a:cxn>
                <a:cxn ang="0">
                  <a:pos x="connsiteX2-5" y="connsiteY2-6"/>
                </a:cxn>
              </a:cxnLst>
              <a:rect l="l" t="t" r="r" b="b"/>
              <a:pathLst>
                <a:path w="6370074" h="3185037">
                  <a:moveTo>
                    <a:pt x="0" y="3185037"/>
                  </a:moveTo>
                  <a:cubicBezTo>
                    <a:pt x="0" y="1425990"/>
                    <a:pt x="1425990" y="0"/>
                    <a:pt x="3185037" y="0"/>
                  </a:cubicBezTo>
                  <a:cubicBezTo>
                    <a:pt x="4944084" y="0"/>
                    <a:pt x="6370074" y="1425990"/>
                    <a:pt x="6370074" y="3185037"/>
                  </a:cubicBezTo>
                </a:path>
              </a:pathLst>
            </a:custGeom>
            <a:noFill/>
            <a:ln w="6350" cap="rnd" cmpd="sng" algn="ctr">
              <a:solidFill>
                <a:schemeClr val="bg1">
                  <a:lumMod val="85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cs typeface="+mn-ea"/>
                <a:sym typeface="+mn-lt"/>
              </a:endParaRPr>
            </a:p>
          </p:txBody>
        </p:sp>
        <p:sp>
          <p:nvSpPr>
            <p:cNvPr id="6" name="Oval 60"/>
            <p:cNvSpPr/>
            <p:nvPr/>
          </p:nvSpPr>
          <p:spPr>
            <a:xfrm>
              <a:off x="1967680" y="2171755"/>
              <a:ext cx="7903908" cy="3951954"/>
            </a:xfrm>
            <a:custGeom>
              <a:avLst/>
              <a:gdLst>
                <a:gd name="connsiteX0" fmla="*/ 0 w 7903908"/>
                <a:gd name="connsiteY0" fmla="*/ 3951954 h 7903908"/>
                <a:gd name="connsiteX1" fmla="*/ 3951954 w 7903908"/>
                <a:gd name="connsiteY1" fmla="*/ 0 h 7903908"/>
                <a:gd name="connsiteX2" fmla="*/ 7903908 w 7903908"/>
                <a:gd name="connsiteY2" fmla="*/ 3951954 h 7903908"/>
                <a:gd name="connsiteX3" fmla="*/ 3951954 w 7903908"/>
                <a:gd name="connsiteY3" fmla="*/ 7903908 h 7903908"/>
                <a:gd name="connsiteX4" fmla="*/ 0 w 7903908"/>
                <a:gd name="connsiteY4" fmla="*/ 3951954 h 7903908"/>
                <a:gd name="connsiteX0-1" fmla="*/ 3951954 w 7903908"/>
                <a:gd name="connsiteY0-2" fmla="*/ 7903908 h 7995348"/>
                <a:gd name="connsiteX1-3" fmla="*/ 0 w 7903908"/>
                <a:gd name="connsiteY1-4" fmla="*/ 3951954 h 7995348"/>
                <a:gd name="connsiteX2-5" fmla="*/ 3951954 w 7903908"/>
                <a:gd name="connsiteY2-6" fmla="*/ 0 h 7995348"/>
                <a:gd name="connsiteX3-7" fmla="*/ 7903908 w 7903908"/>
                <a:gd name="connsiteY3-8" fmla="*/ 3951954 h 7995348"/>
                <a:gd name="connsiteX4-9" fmla="*/ 4043394 w 7903908"/>
                <a:gd name="connsiteY4-10" fmla="*/ 7995348 h 7995348"/>
                <a:gd name="connsiteX0-11" fmla="*/ 3951954 w 7903908"/>
                <a:gd name="connsiteY0-12" fmla="*/ 7903908 h 7903908"/>
                <a:gd name="connsiteX1-13" fmla="*/ 0 w 7903908"/>
                <a:gd name="connsiteY1-14" fmla="*/ 3951954 h 7903908"/>
                <a:gd name="connsiteX2-15" fmla="*/ 3951954 w 7903908"/>
                <a:gd name="connsiteY2-16" fmla="*/ 0 h 7903908"/>
                <a:gd name="connsiteX3-17" fmla="*/ 7903908 w 7903908"/>
                <a:gd name="connsiteY3-18" fmla="*/ 3951954 h 7903908"/>
                <a:gd name="connsiteX0-19" fmla="*/ 0 w 7903908"/>
                <a:gd name="connsiteY0-20" fmla="*/ 3951954 h 3951954"/>
                <a:gd name="connsiteX1-21" fmla="*/ 3951954 w 7903908"/>
                <a:gd name="connsiteY1-22" fmla="*/ 0 h 3951954"/>
                <a:gd name="connsiteX2-23" fmla="*/ 7903908 w 7903908"/>
                <a:gd name="connsiteY2-24" fmla="*/ 3951954 h 3951954"/>
              </a:gdLst>
              <a:ahLst/>
              <a:cxnLst>
                <a:cxn ang="0">
                  <a:pos x="connsiteX0-1" y="connsiteY0-2"/>
                </a:cxn>
                <a:cxn ang="0">
                  <a:pos x="connsiteX1-3" y="connsiteY1-4"/>
                </a:cxn>
                <a:cxn ang="0">
                  <a:pos x="connsiteX2-5" y="connsiteY2-6"/>
                </a:cxn>
              </a:cxnLst>
              <a:rect l="l" t="t" r="r" b="b"/>
              <a:pathLst>
                <a:path w="7903908" h="3951954">
                  <a:moveTo>
                    <a:pt x="0" y="3951954"/>
                  </a:moveTo>
                  <a:cubicBezTo>
                    <a:pt x="0" y="1769350"/>
                    <a:pt x="1769350" y="0"/>
                    <a:pt x="3951954" y="0"/>
                  </a:cubicBezTo>
                  <a:cubicBezTo>
                    <a:pt x="6134558" y="0"/>
                    <a:pt x="7903908" y="1769350"/>
                    <a:pt x="7903908" y="3951954"/>
                  </a:cubicBezTo>
                </a:path>
              </a:pathLst>
            </a:custGeom>
            <a:noFill/>
            <a:ln w="3175" cap="rnd" cmpd="sng" algn="ctr">
              <a:solidFill>
                <a:schemeClr val="bg1">
                  <a:lumMod val="95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cs typeface="+mn-ea"/>
                <a:sym typeface="+mn-lt"/>
              </a:endParaRPr>
            </a:p>
          </p:txBody>
        </p:sp>
      </p:grpSp>
      <p:pic>
        <p:nvPicPr>
          <p:cNvPr id="7" name="Picture 6"/>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593272" y="4422295"/>
            <a:ext cx="9047018" cy="1452798"/>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a:solidFill>
                  <a:srgbClr val="9A9A9A"/>
                </a:solidFill>
                <a:prstDash val="solid"/>
                <a:round/>
                <a:headEnd type="none" w="med" len="med"/>
                <a:tailEnd type="none" w="med" len="med"/>
              </a14:hiddenLine>
            </a:ext>
          </a:extLst>
        </p:spPr>
      </p:pic>
      <p:grpSp>
        <p:nvGrpSpPr>
          <p:cNvPr id="35" name="组合 34"/>
          <p:cNvGrpSpPr/>
          <p:nvPr/>
        </p:nvGrpSpPr>
        <p:grpSpPr>
          <a:xfrm>
            <a:off x="3578494" y="3063635"/>
            <a:ext cx="1035070" cy="1035070"/>
            <a:chOff x="6444178" y="1503679"/>
            <a:chExt cx="345682" cy="345681"/>
          </a:xfrm>
        </p:grpSpPr>
        <p:sp>
          <p:nvSpPr>
            <p:cNvPr id="36" name="ïślîḍé"/>
            <p:cNvSpPr/>
            <p:nvPr/>
          </p:nvSpPr>
          <p:spPr>
            <a:xfrm>
              <a:off x="6444178" y="1503679"/>
              <a:ext cx="345682" cy="345681"/>
            </a:xfrm>
            <a:prstGeom prst="ellipse">
              <a:avLst/>
            </a:prstGeom>
            <a:solidFill>
              <a:schemeClr val="bg1"/>
            </a:solidFill>
            <a:ln w="19050" cap="flat">
              <a:solidFill>
                <a:schemeClr val="accent1"/>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37"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grpSp>
        <p:nvGrpSpPr>
          <p:cNvPr id="32" name="组合 31"/>
          <p:cNvGrpSpPr/>
          <p:nvPr/>
        </p:nvGrpSpPr>
        <p:grpSpPr>
          <a:xfrm>
            <a:off x="5402099" y="2294708"/>
            <a:ext cx="1035070" cy="1035070"/>
            <a:chOff x="6444178" y="1503679"/>
            <a:chExt cx="345682" cy="345681"/>
          </a:xfrm>
        </p:grpSpPr>
        <p:sp>
          <p:nvSpPr>
            <p:cNvPr id="33" name="ïślîḍé"/>
            <p:cNvSpPr/>
            <p:nvPr/>
          </p:nvSpPr>
          <p:spPr>
            <a:xfrm>
              <a:off x="6444178" y="1503679"/>
              <a:ext cx="345682" cy="345681"/>
            </a:xfrm>
            <a:prstGeom prst="ellipse">
              <a:avLst/>
            </a:prstGeom>
            <a:solidFill>
              <a:schemeClr val="accent1"/>
            </a:solidFill>
            <a:ln w="19050" cap="flat">
              <a:solidFill>
                <a:schemeClr val="bg1"/>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34"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bg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grpSp>
        <p:nvGrpSpPr>
          <p:cNvPr id="38" name="组合 37"/>
          <p:cNvGrpSpPr/>
          <p:nvPr/>
        </p:nvGrpSpPr>
        <p:grpSpPr>
          <a:xfrm>
            <a:off x="7225704" y="3063635"/>
            <a:ext cx="1035070" cy="1035070"/>
            <a:chOff x="6444178" y="1503679"/>
            <a:chExt cx="345682" cy="345681"/>
          </a:xfrm>
        </p:grpSpPr>
        <p:sp>
          <p:nvSpPr>
            <p:cNvPr id="39" name="ïślîḍé"/>
            <p:cNvSpPr/>
            <p:nvPr/>
          </p:nvSpPr>
          <p:spPr>
            <a:xfrm>
              <a:off x="6444178" y="1503679"/>
              <a:ext cx="345682" cy="345681"/>
            </a:xfrm>
            <a:prstGeom prst="ellipse">
              <a:avLst/>
            </a:prstGeom>
            <a:solidFill>
              <a:schemeClr val="bg1"/>
            </a:solidFill>
            <a:ln w="19050" cap="flat">
              <a:solidFill>
                <a:schemeClr val="accent1"/>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40"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sp>
        <p:nvSpPr>
          <p:cNvPr id="22" name="iS1íḍê"/>
          <p:cNvSpPr/>
          <p:nvPr/>
        </p:nvSpPr>
        <p:spPr>
          <a:xfrm>
            <a:off x="768928" y="2939185"/>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pPr algn="r"/>
            <a:r>
              <a:rPr lang="zh-CN" altLang="en-US" sz="2000" b="1" dirty="0">
                <a:solidFill>
                  <a:schemeClr val="accent1"/>
                </a:solidFill>
                <a:cs typeface="+mn-ea"/>
                <a:sym typeface="+mn-lt"/>
              </a:rPr>
              <a:t>相关入门资料少</a:t>
            </a:r>
            <a:endParaRPr lang="en-US" altLang="zh-CN" sz="2000" b="1" dirty="0">
              <a:solidFill>
                <a:schemeClr val="accent1"/>
              </a:solidFill>
              <a:cs typeface="+mn-ea"/>
              <a:sym typeface="+mn-lt"/>
            </a:endParaRPr>
          </a:p>
        </p:txBody>
      </p:sp>
      <p:sp>
        <p:nvSpPr>
          <p:cNvPr id="23" name="ï$1idé"/>
          <p:cNvSpPr/>
          <p:nvPr/>
        </p:nvSpPr>
        <p:spPr bwMode="auto">
          <a:xfrm>
            <a:off x="768928" y="3299230"/>
            <a:ext cx="2527764" cy="108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dirty="0">
                <a:solidFill>
                  <a:schemeClr val="tx1">
                    <a:lumMod val="75000"/>
                    <a:lumOff val="25000"/>
                  </a:schemeClr>
                </a:solidFill>
                <a:cs typeface="+mn-ea"/>
                <a:sym typeface="+mn-lt"/>
              </a:rPr>
              <a:t>证据理论有别于传统概率，理解上容易造成偏差，相关入门资料少。</a:t>
            </a:r>
            <a:endParaRPr lang="en-US" altLang="zh-CN" dirty="0">
              <a:solidFill>
                <a:schemeClr val="tx1">
                  <a:lumMod val="75000"/>
                  <a:lumOff val="25000"/>
                </a:schemeClr>
              </a:solidFill>
              <a:cs typeface="+mn-ea"/>
              <a:sym typeface="+mn-lt"/>
            </a:endParaRPr>
          </a:p>
        </p:txBody>
      </p:sp>
      <p:sp>
        <p:nvSpPr>
          <p:cNvPr id="26" name="iS1íḍê"/>
          <p:cNvSpPr/>
          <p:nvPr/>
        </p:nvSpPr>
        <p:spPr>
          <a:xfrm>
            <a:off x="8645237" y="2939185"/>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缺少可视化工具</a:t>
            </a:r>
            <a:endParaRPr lang="en-US" altLang="zh-CN" sz="2000" b="1" dirty="0">
              <a:solidFill>
                <a:schemeClr val="accent1"/>
              </a:solidFill>
              <a:cs typeface="+mn-ea"/>
              <a:sym typeface="+mn-lt"/>
            </a:endParaRPr>
          </a:p>
        </p:txBody>
      </p:sp>
      <p:sp>
        <p:nvSpPr>
          <p:cNvPr id="27" name="ï$1idé"/>
          <p:cNvSpPr/>
          <p:nvPr/>
        </p:nvSpPr>
        <p:spPr bwMode="auto">
          <a:xfrm>
            <a:off x="8645237" y="3299230"/>
            <a:ext cx="2527764" cy="108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dirty="0">
                <a:solidFill>
                  <a:schemeClr val="tx1">
                    <a:lumMod val="75000"/>
                    <a:lumOff val="25000"/>
                  </a:schemeClr>
                </a:solidFill>
                <a:cs typeface="+mn-ea"/>
                <a:sym typeface="+mn-lt"/>
              </a:rPr>
              <a:t>证据学习作为新兴领域，目前专门对其进行可视化的工具几乎没有</a:t>
            </a:r>
            <a:endParaRPr lang="en-US" altLang="zh-CN" dirty="0">
              <a:solidFill>
                <a:schemeClr val="tx1">
                  <a:lumMod val="75000"/>
                  <a:lumOff val="25000"/>
                </a:schemeClr>
              </a:solidFill>
              <a:cs typeface="+mn-ea"/>
              <a:sym typeface="+mn-lt"/>
            </a:endParaRPr>
          </a:p>
        </p:txBody>
      </p:sp>
      <p:sp>
        <p:nvSpPr>
          <p:cNvPr id="9" name="文本框 8">
            <a:extLst>
              <a:ext uri="{FF2B5EF4-FFF2-40B4-BE49-F238E27FC236}">
                <a16:creationId xmlns:a16="http://schemas.microsoft.com/office/drawing/2014/main" id="{7471A652-BFE4-C76B-50BA-7C0723C9F94A}"/>
              </a:ext>
            </a:extLst>
          </p:cNvPr>
          <p:cNvSpPr txBox="1"/>
          <p:nvPr/>
        </p:nvSpPr>
        <p:spPr>
          <a:xfrm>
            <a:off x="1333725" y="1324592"/>
            <a:ext cx="9561064" cy="1299074"/>
          </a:xfrm>
          <a:prstGeom prst="rect">
            <a:avLst/>
          </a:prstGeom>
          <a:noFill/>
        </p:spPr>
        <p:txBody>
          <a:bodyPr wrap="square" lIns="72000" tIns="0" rIns="72000" bIns="0" rtlCol="0" anchor="t">
            <a:spAutoFit/>
          </a:bodyPr>
          <a:lstStyle/>
          <a:p>
            <a:pPr>
              <a:lnSpc>
                <a:spcPct val="120000"/>
              </a:lnSpc>
            </a:pPr>
            <a:r>
              <a:rPr lang="zh-CN" altLang="en-US" dirty="0">
                <a:solidFill>
                  <a:schemeClr val="tx1">
                    <a:lumMod val="75000"/>
                    <a:lumOff val="25000"/>
                  </a:schemeClr>
                </a:solidFill>
                <a:cs typeface="+mn-ea"/>
              </a:rPr>
              <a:t>       基于证据学习的决策树，也称证据决策树，是将证据理论</a:t>
            </a:r>
            <a:r>
              <a:rPr lang="zh-CN" altLang="en-US">
                <a:solidFill>
                  <a:schemeClr val="tx1">
                    <a:lumMod val="75000"/>
                    <a:lumOff val="25000"/>
                  </a:schemeClr>
                </a:solidFill>
                <a:cs typeface="+mn-ea"/>
              </a:rPr>
              <a:t>与决策树结构结合</a:t>
            </a:r>
            <a:r>
              <a:rPr lang="zh-CN" altLang="en-US" dirty="0">
                <a:solidFill>
                  <a:schemeClr val="tx1">
                    <a:lumMod val="75000"/>
                    <a:lumOff val="25000"/>
                  </a:schemeClr>
                </a:solidFill>
                <a:cs typeface="+mn-ea"/>
              </a:rPr>
              <a:t>，目的在于利用证据理论比传统概率能更好的处理数据不确定性这一特点，来提升算法实际落地应用的效果，近年来越来越受到大家的关注。</a:t>
            </a:r>
          </a:p>
          <a:p>
            <a:pPr algn="l">
              <a:lnSpc>
                <a:spcPct val="120000"/>
              </a:lnSpc>
            </a:pPr>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xit" presetSubtype="4" fill="hold" grpId="1" nodeType="clickEffect">
                                  <p:stCondLst>
                                    <p:cond delay="0"/>
                                  </p:stCondLst>
                                  <p:childTnLst>
                                    <p:animEffect transition="out" filter="wipe(down)">
                                      <p:cBhvr>
                                        <p:cTn id="10" dur="500"/>
                                        <p:tgtEl>
                                          <p:spTgt spid="9"/>
                                        </p:tgtEl>
                                      </p:cBhvr>
                                    </p:animEffect>
                                    <p:set>
                                      <p:cBhvr>
                                        <p:cTn id="11" dur="1" fill="hold">
                                          <p:stCondLst>
                                            <p:cond delay="499"/>
                                          </p:stCondLst>
                                        </p:cTn>
                                        <p:tgtEl>
                                          <p:spTgt spid="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23"/>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26"/>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6" grpId="0"/>
      <p:bldP spid="27" grpId="0"/>
      <p:bldP spid="9" grpId="0"/>
      <p:bldP spid="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研究意义</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5</a:t>
            </a:fld>
            <a:endParaRPr lang="en-US" dirty="0">
              <a:solidFill>
                <a:srgbClr val="000000">
                  <a:tint val="75000"/>
                </a:srgbClr>
              </a:solidFill>
            </a:endParaRPr>
          </a:p>
        </p:txBody>
      </p:sp>
      <p:grpSp>
        <p:nvGrpSpPr>
          <p:cNvPr id="4" name="ïṣļîḋ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741524" y="1114794"/>
            <a:ext cx="10708952" cy="4275134"/>
            <a:chOff x="741524" y="1539000"/>
            <a:chExt cx="10708952" cy="4275134"/>
          </a:xfrm>
        </p:grpSpPr>
        <p:sp>
          <p:nvSpPr>
            <p:cNvPr id="5" name="îśļîḓè"/>
            <p:cNvSpPr/>
            <p:nvPr/>
          </p:nvSpPr>
          <p:spPr bwMode="auto">
            <a:xfrm>
              <a:off x="7323931" y="2518488"/>
              <a:ext cx="3094038" cy="1106488"/>
            </a:xfrm>
            <a:custGeom>
              <a:avLst/>
              <a:gdLst>
                <a:gd name="T0" fmla="*/ 603 w 676"/>
                <a:gd name="T1" fmla="*/ 241 h 241"/>
                <a:gd name="T2" fmla="*/ 73 w 676"/>
                <a:gd name="T3" fmla="*/ 241 h 241"/>
                <a:gd name="T4" fmla="*/ 0 w 676"/>
                <a:gd name="T5" fmla="*/ 173 h 241"/>
                <a:gd name="T6" fmla="*/ 0 w 676"/>
                <a:gd name="T7" fmla="*/ 68 h 241"/>
                <a:gd name="T8" fmla="*/ 73 w 676"/>
                <a:gd name="T9" fmla="*/ 0 h 241"/>
                <a:gd name="T10" fmla="*/ 603 w 676"/>
                <a:gd name="T11" fmla="*/ 0 h 241"/>
                <a:gd name="T12" fmla="*/ 676 w 676"/>
                <a:gd name="T13" fmla="*/ 68 h 241"/>
                <a:gd name="T14" fmla="*/ 676 w 676"/>
                <a:gd name="T15" fmla="*/ 173 h 241"/>
                <a:gd name="T16" fmla="*/ 603 w 676"/>
                <a:gd name="T17"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6" h="241">
                  <a:moveTo>
                    <a:pt x="603" y="241"/>
                  </a:moveTo>
                  <a:cubicBezTo>
                    <a:pt x="73" y="241"/>
                    <a:pt x="73" y="241"/>
                    <a:pt x="73" y="241"/>
                  </a:cubicBezTo>
                  <a:cubicBezTo>
                    <a:pt x="33" y="241"/>
                    <a:pt x="0" y="211"/>
                    <a:pt x="0" y="173"/>
                  </a:cubicBezTo>
                  <a:cubicBezTo>
                    <a:pt x="0" y="68"/>
                    <a:pt x="0" y="68"/>
                    <a:pt x="0" y="68"/>
                  </a:cubicBezTo>
                  <a:cubicBezTo>
                    <a:pt x="0" y="31"/>
                    <a:pt x="33" y="0"/>
                    <a:pt x="73" y="0"/>
                  </a:cubicBezTo>
                  <a:cubicBezTo>
                    <a:pt x="603" y="0"/>
                    <a:pt x="603" y="0"/>
                    <a:pt x="603" y="0"/>
                  </a:cubicBezTo>
                  <a:cubicBezTo>
                    <a:pt x="643" y="0"/>
                    <a:pt x="676" y="31"/>
                    <a:pt x="676" y="68"/>
                  </a:cubicBezTo>
                  <a:cubicBezTo>
                    <a:pt x="676" y="173"/>
                    <a:pt x="676" y="173"/>
                    <a:pt x="676" y="173"/>
                  </a:cubicBezTo>
                  <a:cubicBezTo>
                    <a:pt x="676" y="211"/>
                    <a:pt x="643" y="241"/>
                    <a:pt x="603" y="241"/>
                  </a:cubicBezTo>
                  <a:close/>
                </a:path>
              </a:pathLst>
            </a:custGeom>
            <a:solidFill>
              <a:schemeClr val="tx2">
                <a:lumMod val="20000"/>
                <a:lumOff val="8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6800" rIns="91440" bIns="46800" anchor="ctr" anchorCtr="0" compatLnSpc="1">
              <a:normAutofit/>
            </a:bodyPr>
            <a:lstStyle/>
            <a:p>
              <a:pPr algn="ctr">
                <a:lnSpc>
                  <a:spcPct val="120000"/>
                </a:lnSpc>
              </a:pPr>
              <a:r>
                <a:rPr lang="zh-CN" altLang="en-US" sz="3200" b="1" dirty="0"/>
                <a:t>对于证据学习</a:t>
              </a:r>
            </a:p>
          </p:txBody>
        </p:sp>
        <p:sp>
          <p:nvSpPr>
            <p:cNvPr id="6" name="iṡḷïde"/>
            <p:cNvSpPr/>
            <p:nvPr/>
          </p:nvSpPr>
          <p:spPr bwMode="auto">
            <a:xfrm>
              <a:off x="1650206" y="3763088"/>
              <a:ext cx="1003300" cy="358775"/>
            </a:xfrm>
            <a:custGeom>
              <a:avLst/>
              <a:gdLst>
                <a:gd name="T0" fmla="*/ 632 w 632"/>
                <a:gd name="T1" fmla="*/ 0 h 226"/>
                <a:gd name="T2" fmla="*/ 545 w 632"/>
                <a:gd name="T3" fmla="*/ 113 h 226"/>
                <a:gd name="T4" fmla="*/ 632 w 632"/>
                <a:gd name="T5" fmla="*/ 226 h 226"/>
                <a:gd name="T6" fmla="*/ 90 w 632"/>
                <a:gd name="T7" fmla="*/ 226 h 226"/>
                <a:gd name="T8" fmla="*/ 0 w 632"/>
                <a:gd name="T9" fmla="*/ 113 h 226"/>
                <a:gd name="T10" fmla="*/ 90 w 632"/>
                <a:gd name="T11" fmla="*/ 0 h 226"/>
                <a:gd name="T12" fmla="*/ 632 w 632"/>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632" h="226">
                  <a:moveTo>
                    <a:pt x="632" y="0"/>
                  </a:moveTo>
                  <a:lnTo>
                    <a:pt x="545" y="113"/>
                  </a:lnTo>
                  <a:lnTo>
                    <a:pt x="632" y="226"/>
                  </a:lnTo>
                  <a:lnTo>
                    <a:pt x="90" y="226"/>
                  </a:lnTo>
                  <a:lnTo>
                    <a:pt x="0" y="113"/>
                  </a:lnTo>
                  <a:lnTo>
                    <a:pt x="90" y="0"/>
                  </a:lnTo>
                  <a:lnTo>
                    <a:pt x="632" y="0"/>
                  </a:lnTo>
                  <a:close/>
                </a:path>
              </a:pathLst>
            </a:custGeom>
            <a:solidFill>
              <a:schemeClr val="accent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 name="íšļîḋê"/>
            <p:cNvSpPr/>
            <p:nvPr/>
          </p:nvSpPr>
          <p:spPr bwMode="auto">
            <a:xfrm>
              <a:off x="2607469" y="3763088"/>
              <a:ext cx="1001713" cy="358775"/>
            </a:xfrm>
            <a:custGeom>
              <a:avLst/>
              <a:gdLst>
                <a:gd name="T0" fmla="*/ 631 w 631"/>
                <a:gd name="T1" fmla="*/ 0 h 226"/>
                <a:gd name="T2" fmla="*/ 542 w 631"/>
                <a:gd name="T3" fmla="*/ 113 h 226"/>
                <a:gd name="T4" fmla="*/ 631 w 631"/>
                <a:gd name="T5" fmla="*/ 226 h 226"/>
                <a:gd name="T6" fmla="*/ 89 w 631"/>
                <a:gd name="T7" fmla="*/ 226 h 226"/>
                <a:gd name="T8" fmla="*/ 0 w 631"/>
                <a:gd name="T9" fmla="*/ 113 h 226"/>
                <a:gd name="T10" fmla="*/ 89 w 631"/>
                <a:gd name="T11" fmla="*/ 0 h 226"/>
                <a:gd name="T12" fmla="*/ 631 w 631"/>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631" h="226">
                  <a:moveTo>
                    <a:pt x="631" y="0"/>
                  </a:moveTo>
                  <a:lnTo>
                    <a:pt x="542" y="113"/>
                  </a:lnTo>
                  <a:lnTo>
                    <a:pt x="631" y="226"/>
                  </a:lnTo>
                  <a:lnTo>
                    <a:pt x="89" y="226"/>
                  </a:lnTo>
                  <a:lnTo>
                    <a:pt x="0" y="113"/>
                  </a:lnTo>
                  <a:lnTo>
                    <a:pt x="89" y="0"/>
                  </a:lnTo>
                  <a:lnTo>
                    <a:pt x="631" y="0"/>
                  </a:lnTo>
                  <a:close/>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 name="ïṩļïḍé"/>
            <p:cNvSpPr/>
            <p:nvPr/>
          </p:nvSpPr>
          <p:spPr bwMode="auto">
            <a:xfrm>
              <a:off x="818356" y="3299538"/>
              <a:ext cx="882650" cy="822325"/>
            </a:xfrm>
            <a:custGeom>
              <a:avLst/>
              <a:gdLst>
                <a:gd name="T0" fmla="*/ 84 w 193"/>
                <a:gd name="T1" fmla="*/ 101 h 179"/>
                <a:gd name="T2" fmla="*/ 84 w 193"/>
                <a:gd name="T3" fmla="*/ 29 h 179"/>
                <a:gd name="T4" fmla="*/ 42 w 193"/>
                <a:gd name="T5" fmla="*/ 0 h 179"/>
                <a:gd name="T6" fmla="*/ 0 w 193"/>
                <a:gd name="T7" fmla="*/ 29 h 179"/>
                <a:gd name="T8" fmla="*/ 0 w 193"/>
                <a:gd name="T9" fmla="*/ 111 h 179"/>
                <a:gd name="T10" fmla="*/ 73 w 193"/>
                <a:gd name="T11" fmla="*/ 179 h 179"/>
                <a:gd name="T12" fmla="*/ 193 w 193"/>
                <a:gd name="T13" fmla="*/ 179 h 179"/>
                <a:gd name="T14" fmla="*/ 162 w 193"/>
                <a:gd name="T15" fmla="*/ 140 h 179"/>
                <a:gd name="T16" fmla="*/ 193 w 193"/>
                <a:gd name="T17" fmla="*/ 101 h 179"/>
                <a:gd name="T18" fmla="*/ 84 w 193"/>
                <a:gd name="T19" fmla="*/ 10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79">
                  <a:moveTo>
                    <a:pt x="84" y="101"/>
                  </a:moveTo>
                  <a:cubicBezTo>
                    <a:pt x="84" y="29"/>
                    <a:pt x="84" y="29"/>
                    <a:pt x="84" y="29"/>
                  </a:cubicBezTo>
                  <a:cubicBezTo>
                    <a:pt x="42" y="0"/>
                    <a:pt x="42" y="0"/>
                    <a:pt x="42" y="0"/>
                  </a:cubicBezTo>
                  <a:cubicBezTo>
                    <a:pt x="0" y="29"/>
                    <a:pt x="0" y="29"/>
                    <a:pt x="0" y="29"/>
                  </a:cubicBezTo>
                  <a:cubicBezTo>
                    <a:pt x="0" y="111"/>
                    <a:pt x="0" y="111"/>
                    <a:pt x="0" y="111"/>
                  </a:cubicBezTo>
                  <a:cubicBezTo>
                    <a:pt x="0" y="148"/>
                    <a:pt x="33" y="179"/>
                    <a:pt x="73" y="179"/>
                  </a:cubicBezTo>
                  <a:cubicBezTo>
                    <a:pt x="193" y="179"/>
                    <a:pt x="193" y="179"/>
                    <a:pt x="193" y="179"/>
                  </a:cubicBezTo>
                  <a:cubicBezTo>
                    <a:pt x="162" y="140"/>
                    <a:pt x="162" y="140"/>
                    <a:pt x="162" y="140"/>
                  </a:cubicBezTo>
                  <a:cubicBezTo>
                    <a:pt x="193" y="101"/>
                    <a:pt x="193" y="101"/>
                    <a:pt x="193" y="101"/>
                  </a:cubicBezTo>
                  <a:lnTo>
                    <a:pt x="84" y="101"/>
                  </a:lnTo>
                  <a:close/>
                </a:path>
              </a:pathLst>
            </a:custGeom>
            <a:solidFill>
              <a:schemeClr val="accent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 name="îSļîḓê"/>
            <p:cNvSpPr/>
            <p:nvPr/>
          </p:nvSpPr>
          <p:spPr bwMode="auto">
            <a:xfrm>
              <a:off x="818356" y="2523250"/>
              <a:ext cx="882650" cy="822325"/>
            </a:xfrm>
            <a:custGeom>
              <a:avLst/>
              <a:gdLst>
                <a:gd name="T0" fmla="*/ 84 w 193"/>
                <a:gd name="T1" fmla="*/ 77 h 179"/>
                <a:gd name="T2" fmla="*/ 162 w 193"/>
                <a:gd name="T3" fmla="*/ 77 h 179"/>
                <a:gd name="T4" fmla="*/ 193 w 193"/>
                <a:gd name="T5" fmla="*/ 38 h 179"/>
                <a:gd name="T6" fmla="*/ 162 w 193"/>
                <a:gd name="T7" fmla="*/ 0 h 179"/>
                <a:gd name="T8" fmla="*/ 73 w 193"/>
                <a:gd name="T9" fmla="*/ 0 h 179"/>
                <a:gd name="T10" fmla="*/ 0 w 193"/>
                <a:gd name="T11" fmla="*/ 68 h 179"/>
                <a:gd name="T12" fmla="*/ 0 w 193"/>
                <a:gd name="T13" fmla="*/ 179 h 179"/>
                <a:gd name="T14" fmla="*/ 42 w 193"/>
                <a:gd name="T15" fmla="*/ 150 h 179"/>
                <a:gd name="T16" fmla="*/ 84 w 193"/>
                <a:gd name="T17" fmla="*/ 179 h 179"/>
                <a:gd name="T18" fmla="*/ 84 w 193"/>
                <a:gd name="T19" fmla="*/ 7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79">
                  <a:moveTo>
                    <a:pt x="84" y="77"/>
                  </a:moveTo>
                  <a:cubicBezTo>
                    <a:pt x="162" y="77"/>
                    <a:pt x="162" y="77"/>
                    <a:pt x="162" y="77"/>
                  </a:cubicBezTo>
                  <a:cubicBezTo>
                    <a:pt x="193" y="38"/>
                    <a:pt x="193" y="38"/>
                    <a:pt x="193" y="38"/>
                  </a:cubicBezTo>
                  <a:cubicBezTo>
                    <a:pt x="162" y="0"/>
                    <a:pt x="162" y="0"/>
                    <a:pt x="162" y="0"/>
                  </a:cubicBezTo>
                  <a:cubicBezTo>
                    <a:pt x="73" y="0"/>
                    <a:pt x="73" y="0"/>
                    <a:pt x="73" y="0"/>
                  </a:cubicBezTo>
                  <a:cubicBezTo>
                    <a:pt x="33" y="0"/>
                    <a:pt x="0" y="30"/>
                    <a:pt x="0" y="68"/>
                  </a:cubicBezTo>
                  <a:cubicBezTo>
                    <a:pt x="0" y="179"/>
                    <a:pt x="0" y="179"/>
                    <a:pt x="0" y="179"/>
                  </a:cubicBezTo>
                  <a:cubicBezTo>
                    <a:pt x="42" y="150"/>
                    <a:pt x="42" y="150"/>
                    <a:pt x="42" y="150"/>
                  </a:cubicBezTo>
                  <a:cubicBezTo>
                    <a:pt x="84" y="179"/>
                    <a:pt x="84" y="179"/>
                    <a:pt x="84" y="179"/>
                  </a:cubicBezTo>
                  <a:lnTo>
                    <a:pt x="84" y="77"/>
                  </a:lnTo>
                  <a:close/>
                </a:path>
              </a:pathLst>
            </a:custGeom>
            <a:solidFill>
              <a:schemeClr val="tx2">
                <a:lumMod val="20000"/>
                <a:lumOff val="80000"/>
              </a:schemeClr>
            </a:solidFill>
            <a:ln>
              <a:noFill/>
            </a:ln>
          </p:spPr>
          <p:txBody>
            <a:bodyPr anchor="ctr"/>
            <a:lstStyle/>
            <a:p>
              <a:pPr algn="ctr"/>
              <a:endParaRPr/>
            </a:p>
          </p:txBody>
        </p:sp>
        <p:sp>
          <p:nvSpPr>
            <p:cNvPr id="10" name="išḻíḋè"/>
            <p:cNvSpPr/>
            <p:nvPr/>
          </p:nvSpPr>
          <p:spPr bwMode="auto">
            <a:xfrm>
              <a:off x="5014119" y="1539000"/>
              <a:ext cx="2163763" cy="1806575"/>
            </a:xfrm>
            <a:custGeom>
              <a:avLst/>
              <a:gdLst>
                <a:gd name="T0" fmla="*/ 244 w 473"/>
                <a:gd name="T1" fmla="*/ 49 h 393"/>
                <a:gd name="T2" fmla="*/ 262 w 473"/>
                <a:gd name="T3" fmla="*/ 83 h 393"/>
                <a:gd name="T4" fmla="*/ 213 w 473"/>
                <a:gd name="T5" fmla="*/ 174 h 393"/>
                <a:gd name="T6" fmla="*/ 176 w 473"/>
                <a:gd name="T7" fmla="*/ 197 h 393"/>
                <a:gd name="T8" fmla="*/ 161 w 473"/>
                <a:gd name="T9" fmla="*/ 275 h 393"/>
                <a:gd name="T10" fmla="*/ 236 w 473"/>
                <a:gd name="T11" fmla="*/ 301 h 393"/>
                <a:gd name="T12" fmla="*/ 311 w 473"/>
                <a:gd name="T13" fmla="*/ 275 h 393"/>
                <a:gd name="T14" fmla="*/ 297 w 473"/>
                <a:gd name="T15" fmla="*/ 197 h 393"/>
                <a:gd name="T16" fmla="*/ 260 w 473"/>
                <a:gd name="T17" fmla="*/ 103 h 393"/>
                <a:gd name="T18" fmla="*/ 268 w 473"/>
                <a:gd name="T19" fmla="*/ 100 h 393"/>
                <a:gd name="T20" fmla="*/ 334 w 473"/>
                <a:gd name="T21" fmla="*/ 35 h 393"/>
                <a:gd name="T22" fmla="*/ 319 w 473"/>
                <a:gd name="T23" fmla="*/ 21 h 393"/>
                <a:gd name="T24" fmla="*/ 244 w 473"/>
                <a:gd name="T25" fmla="*/ 10 h 393"/>
                <a:gd name="T26" fmla="*/ 251 w 473"/>
                <a:gd name="T27" fmla="*/ 0 h 393"/>
                <a:gd name="T28" fmla="*/ 244 w 473"/>
                <a:gd name="T29" fmla="*/ 0 h 393"/>
                <a:gd name="T30" fmla="*/ 221 w 473"/>
                <a:gd name="T31" fmla="*/ 0 h 393"/>
                <a:gd name="T32" fmla="*/ 229 w 473"/>
                <a:gd name="T33" fmla="*/ 10 h 393"/>
                <a:gd name="T34" fmla="*/ 154 w 473"/>
                <a:gd name="T35" fmla="*/ 21 h 393"/>
                <a:gd name="T36" fmla="*/ 139 w 473"/>
                <a:gd name="T37" fmla="*/ 35 h 393"/>
                <a:gd name="T38" fmla="*/ 143 w 473"/>
                <a:gd name="T39" fmla="*/ 44 h 393"/>
                <a:gd name="T40" fmla="*/ 205 w 473"/>
                <a:gd name="T41" fmla="*/ 100 h 393"/>
                <a:gd name="T42" fmla="*/ 213 w 473"/>
                <a:gd name="T43" fmla="*/ 103 h 393"/>
                <a:gd name="T44" fmla="*/ 213 w 473"/>
                <a:gd name="T45" fmla="*/ 174 h 393"/>
                <a:gd name="T46" fmla="*/ 393 w 473"/>
                <a:gd name="T47" fmla="*/ 207 h 393"/>
                <a:gd name="T48" fmla="*/ 473 w 473"/>
                <a:gd name="T49" fmla="*/ 312 h 393"/>
                <a:gd name="T50" fmla="*/ 431 w 473"/>
                <a:gd name="T51" fmla="*/ 364 h 393"/>
                <a:gd name="T52" fmla="*/ 389 w 473"/>
                <a:gd name="T53" fmla="*/ 318 h 393"/>
                <a:gd name="T54" fmla="*/ 343 w 473"/>
                <a:gd name="T55" fmla="*/ 291 h 393"/>
                <a:gd name="T56" fmla="*/ 324 w 473"/>
                <a:gd name="T57" fmla="*/ 275 h 393"/>
                <a:gd name="T58" fmla="*/ 324 w 473"/>
                <a:gd name="T59" fmla="*/ 182 h 393"/>
                <a:gd name="T60" fmla="*/ 343 w 473"/>
                <a:gd name="T61" fmla="*/ 197 h 393"/>
                <a:gd name="T62" fmla="*/ 130 w 473"/>
                <a:gd name="T63" fmla="*/ 197 h 393"/>
                <a:gd name="T64" fmla="*/ 148 w 473"/>
                <a:gd name="T65" fmla="*/ 182 h 393"/>
                <a:gd name="T66" fmla="*/ 130 w 473"/>
                <a:gd name="T67" fmla="*/ 291 h 393"/>
                <a:gd name="T68" fmla="*/ 84 w 473"/>
                <a:gd name="T69" fmla="*/ 318 h 393"/>
                <a:gd name="T70" fmla="*/ 42 w 473"/>
                <a:gd name="T71" fmla="*/ 393 h 393"/>
                <a:gd name="T72" fmla="*/ 0 w 473"/>
                <a:gd name="T73" fmla="*/ 317 h 393"/>
                <a:gd name="T74" fmla="*/ 110 w 473"/>
                <a:gd name="T75" fmla="*/ 199 h 393"/>
                <a:gd name="T76" fmla="*/ 130 w 473"/>
                <a:gd name="T77" fmla="*/ 197 h 393"/>
                <a:gd name="T78" fmla="*/ 229 w 473"/>
                <a:gd name="T79" fmla="*/ 49 h 393"/>
                <a:gd name="T80" fmla="*/ 211 w 473"/>
                <a:gd name="T81" fmla="*/ 8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393">
                  <a:moveTo>
                    <a:pt x="244" y="83"/>
                  </a:moveTo>
                  <a:cubicBezTo>
                    <a:pt x="244" y="49"/>
                    <a:pt x="244" y="49"/>
                    <a:pt x="244" y="49"/>
                  </a:cubicBezTo>
                  <a:cubicBezTo>
                    <a:pt x="300" y="49"/>
                    <a:pt x="300" y="49"/>
                    <a:pt x="300" y="49"/>
                  </a:cubicBezTo>
                  <a:cubicBezTo>
                    <a:pt x="262" y="83"/>
                    <a:pt x="262" y="83"/>
                    <a:pt x="262" y="83"/>
                  </a:cubicBezTo>
                  <a:cubicBezTo>
                    <a:pt x="244" y="83"/>
                    <a:pt x="244" y="83"/>
                    <a:pt x="244" y="83"/>
                  </a:cubicBezTo>
                  <a:close/>
                  <a:moveTo>
                    <a:pt x="213" y="174"/>
                  </a:moveTo>
                  <a:cubicBezTo>
                    <a:pt x="198" y="178"/>
                    <a:pt x="186" y="186"/>
                    <a:pt x="176" y="197"/>
                  </a:cubicBezTo>
                  <a:cubicBezTo>
                    <a:pt x="176" y="197"/>
                    <a:pt x="176" y="197"/>
                    <a:pt x="176" y="197"/>
                  </a:cubicBezTo>
                  <a:cubicBezTo>
                    <a:pt x="161" y="197"/>
                    <a:pt x="161" y="197"/>
                    <a:pt x="161" y="197"/>
                  </a:cubicBezTo>
                  <a:cubicBezTo>
                    <a:pt x="161" y="275"/>
                    <a:pt x="161" y="275"/>
                    <a:pt x="161" y="275"/>
                  </a:cubicBezTo>
                  <a:cubicBezTo>
                    <a:pt x="176" y="275"/>
                    <a:pt x="176" y="275"/>
                    <a:pt x="176" y="275"/>
                  </a:cubicBezTo>
                  <a:cubicBezTo>
                    <a:pt x="190" y="291"/>
                    <a:pt x="212" y="301"/>
                    <a:pt x="236" y="301"/>
                  </a:cubicBezTo>
                  <a:cubicBezTo>
                    <a:pt x="261" y="301"/>
                    <a:pt x="283" y="291"/>
                    <a:pt x="297" y="275"/>
                  </a:cubicBezTo>
                  <a:cubicBezTo>
                    <a:pt x="311" y="275"/>
                    <a:pt x="311" y="275"/>
                    <a:pt x="311" y="275"/>
                  </a:cubicBezTo>
                  <a:cubicBezTo>
                    <a:pt x="311" y="197"/>
                    <a:pt x="311" y="197"/>
                    <a:pt x="311" y="197"/>
                  </a:cubicBezTo>
                  <a:cubicBezTo>
                    <a:pt x="297" y="197"/>
                    <a:pt x="297" y="197"/>
                    <a:pt x="297" y="197"/>
                  </a:cubicBezTo>
                  <a:cubicBezTo>
                    <a:pt x="287" y="186"/>
                    <a:pt x="274" y="178"/>
                    <a:pt x="260" y="174"/>
                  </a:cubicBezTo>
                  <a:cubicBezTo>
                    <a:pt x="260" y="103"/>
                    <a:pt x="260" y="103"/>
                    <a:pt x="260" y="103"/>
                  </a:cubicBezTo>
                  <a:cubicBezTo>
                    <a:pt x="260" y="103"/>
                    <a:pt x="260" y="103"/>
                    <a:pt x="260" y="103"/>
                  </a:cubicBezTo>
                  <a:cubicBezTo>
                    <a:pt x="263" y="103"/>
                    <a:pt x="266" y="102"/>
                    <a:pt x="268" y="100"/>
                  </a:cubicBezTo>
                  <a:cubicBezTo>
                    <a:pt x="328" y="45"/>
                    <a:pt x="328" y="45"/>
                    <a:pt x="328" y="45"/>
                  </a:cubicBezTo>
                  <a:cubicBezTo>
                    <a:pt x="332" y="43"/>
                    <a:pt x="334" y="39"/>
                    <a:pt x="334" y="35"/>
                  </a:cubicBezTo>
                  <a:cubicBezTo>
                    <a:pt x="334" y="35"/>
                    <a:pt x="334" y="35"/>
                    <a:pt x="334" y="35"/>
                  </a:cubicBezTo>
                  <a:cubicBezTo>
                    <a:pt x="334" y="27"/>
                    <a:pt x="327" y="21"/>
                    <a:pt x="319" y="21"/>
                  </a:cubicBezTo>
                  <a:cubicBezTo>
                    <a:pt x="244" y="21"/>
                    <a:pt x="244" y="21"/>
                    <a:pt x="244" y="21"/>
                  </a:cubicBezTo>
                  <a:cubicBezTo>
                    <a:pt x="244" y="10"/>
                    <a:pt x="244" y="10"/>
                    <a:pt x="244" y="10"/>
                  </a:cubicBezTo>
                  <a:cubicBezTo>
                    <a:pt x="251" y="10"/>
                    <a:pt x="251" y="10"/>
                    <a:pt x="251" y="10"/>
                  </a:cubicBezTo>
                  <a:cubicBezTo>
                    <a:pt x="251" y="0"/>
                    <a:pt x="251" y="0"/>
                    <a:pt x="251" y="0"/>
                  </a:cubicBezTo>
                  <a:cubicBezTo>
                    <a:pt x="244" y="0"/>
                    <a:pt x="244" y="0"/>
                    <a:pt x="244" y="0"/>
                  </a:cubicBezTo>
                  <a:cubicBezTo>
                    <a:pt x="244" y="0"/>
                    <a:pt x="244" y="0"/>
                    <a:pt x="244" y="0"/>
                  </a:cubicBezTo>
                  <a:cubicBezTo>
                    <a:pt x="243" y="0"/>
                    <a:pt x="243" y="0"/>
                    <a:pt x="243" y="0"/>
                  </a:cubicBezTo>
                  <a:cubicBezTo>
                    <a:pt x="221" y="0"/>
                    <a:pt x="221" y="0"/>
                    <a:pt x="221" y="0"/>
                  </a:cubicBezTo>
                  <a:cubicBezTo>
                    <a:pt x="221" y="10"/>
                    <a:pt x="221" y="10"/>
                    <a:pt x="221" y="10"/>
                  </a:cubicBezTo>
                  <a:cubicBezTo>
                    <a:pt x="229" y="10"/>
                    <a:pt x="229" y="10"/>
                    <a:pt x="229" y="10"/>
                  </a:cubicBezTo>
                  <a:cubicBezTo>
                    <a:pt x="229" y="21"/>
                    <a:pt x="229" y="21"/>
                    <a:pt x="229" y="21"/>
                  </a:cubicBezTo>
                  <a:cubicBezTo>
                    <a:pt x="154" y="21"/>
                    <a:pt x="154" y="21"/>
                    <a:pt x="154" y="21"/>
                  </a:cubicBezTo>
                  <a:cubicBezTo>
                    <a:pt x="146" y="21"/>
                    <a:pt x="139" y="27"/>
                    <a:pt x="139" y="35"/>
                  </a:cubicBezTo>
                  <a:cubicBezTo>
                    <a:pt x="139" y="35"/>
                    <a:pt x="139" y="35"/>
                    <a:pt x="139" y="35"/>
                  </a:cubicBezTo>
                  <a:cubicBezTo>
                    <a:pt x="139" y="38"/>
                    <a:pt x="140" y="40"/>
                    <a:pt x="142" y="43"/>
                  </a:cubicBezTo>
                  <a:cubicBezTo>
                    <a:pt x="142" y="43"/>
                    <a:pt x="142" y="43"/>
                    <a:pt x="143" y="44"/>
                  </a:cubicBezTo>
                  <a:cubicBezTo>
                    <a:pt x="143" y="44"/>
                    <a:pt x="144" y="45"/>
                    <a:pt x="144" y="45"/>
                  </a:cubicBezTo>
                  <a:cubicBezTo>
                    <a:pt x="205" y="100"/>
                    <a:pt x="205" y="100"/>
                    <a:pt x="205" y="100"/>
                  </a:cubicBezTo>
                  <a:cubicBezTo>
                    <a:pt x="205" y="100"/>
                    <a:pt x="205" y="100"/>
                    <a:pt x="205" y="100"/>
                  </a:cubicBezTo>
                  <a:cubicBezTo>
                    <a:pt x="207" y="102"/>
                    <a:pt x="210" y="103"/>
                    <a:pt x="213" y="103"/>
                  </a:cubicBezTo>
                  <a:cubicBezTo>
                    <a:pt x="213" y="103"/>
                    <a:pt x="213" y="103"/>
                    <a:pt x="213" y="103"/>
                  </a:cubicBezTo>
                  <a:cubicBezTo>
                    <a:pt x="213" y="174"/>
                    <a:pt x="213" y="174"/>
                    <a:pt x="213" y="174"/>
                  </a:cubicBezTo>
                  <a:close/>
                  <a:moveTo>
                    <a:pt x="344" y="197"/>
                  </a:moveTo>
                  <a:cubicBezTo>
                    <a:pt x="361" y="198"/>
                    <a:pt x="377" y="201"/>
                    <a:pt x="393" y="207"/>
                  </a:cubicBezTo>
                  <a:cubicBezTo>
                    <a:pt x="436" y="225"/>
                    <a:pt x="463" y="257"/>
                    <a:pt x="472" y="300"/>
                  </a:cubicBezTo>
                  <a:cubicBezTo>
                    <a:pt x="473" y="312"/>
                    <a:pt x="473" y="312"/>
                    <a:pt x="473" y="312"/>
                  </a:cubicBezTo>
                  <a:cubicBezTo>
                    <a:pt x="473" y="393"/>
                    <a:pt x="473" y="393"/>
                    <a:pt x="473" y="393"/>
                  </a:cubicBezTo>
                  <a:cubicBezTo>
                    <a:pt x="431" y="364"/>
                    <a:pt x="431" y="364"/>
                    <a:pt x="431" y="364"/>
                  </a:cubicBezTo>
                  <a:cubicBezTo>
                    <a:pt x="389" y="393"/>
                    <a:pt x="389" y="393"/>
                    <a:pt x="389" y="393"/>
                  </a:cubicBezTo>
                  <a:cubicBezTo>
                    <a:pt x="389" y="318"/>
                    <a:pt x="389" y="318"/>
                    <a:pt x="389" y="318"/>
                  </a:cubicBezTo>
                  <a:cubicBezTo>
                    <a:pt x="389" y="295"/>
                    <a:pt x="368" y="275"/>
                    <a:pt x="343" y="275"/>
                  </a:cubicBezTo>
                  <a:cubicBezTo>
                    <a:pt x="343" y="291"/>
                    <a:pt x="343" y="291"/>
                    <a:pt x="343" y="291"/>
                  </a:cubicBezTo>
                  <a:cubicBezTo>
                    <a:pt x="324" y="291"/>
                    <a:pt x="324" y="291"/>
                    <a:pt x="324" y="291"/>
                  </a:cubicBezTo>
                  <a:cubicBezTo>
                    <a:pt x="324" y="275"/>
                    <a:pt x="324" y="275"/>
                    <a:pt x="324" y="275"/>
                  </a:cubicBezTo>
                  <a:cubicBezTo>
                    <a:pt x="324" y="197"/>
                    <a:pt x="324" y="197"/>
                    <a:pt x="324" y="197"/>
                  </a:cubicBezTo>
                  <a:cubicBezTo>
                    <a:pt x="324" y="182"/>
                    <a:pt x="324" y="182"/>
                    <a:pt x="324" y="182"/>
                  </a:cubicBezTo>
                  <a:cubicBezTo>
                    <a:pt x="343" y="182"/>
                    <a:pt x="343" y="182"/>
                    <a:pt x="343" y="182"/>
                  </a:cubicBezTo>
                  <a:cubicBezTo>
                    <a:pt x="343" y="197"/>
                    <a:pt x="343" y="197"/>
                    <a:pt x="343" y="197"/>
                  </a:cubicBezTo>
                  <a:cubicBezTo>
                    <a:pt x="344" y="197"/>
                    <a:pt x="344" y="197"/>
                    <a:pt x="344" y="197"/>
                  </a:cubicBezTo>
                  <a:close/>
                  <a:moveTo>
                    <a:pt x="130" y="197"/>
                  </a:moveTo>
                  <a:cubicBezTo>
                    <a:pt x="130" y="182"/>
                    <a:pt x="130" y="182"/>
                    <a:pt x="130" y="182"/>
                  </a:cubicBezTo>
                  <a:cubicBezTo>
                    <a:pt x="148" y="182"/>
                    <a:pt x="148" y="182"/>
                    <a:pt x="148" y="182"/>
                  </a:cubicBezTo>
                  <a:cubicBezTo>
                    <a:pt x="148" y="291"/>
                    <a:pt x="148" y="291"/>
                    <a:pt x="148" y="291"/>
                  </a:cubicBezTo>
                  <a:cubicBezTo>
                    <a:pt x="130" y="291"/>
                    <a:pt x="130" y="291"/>
                    <a:pt x="130" y="291"/>
                  </a:cubicBezTo>
                  <a:cubicBezTo>
                    <a:pt x="130" y="275"/>
                    <a:pt x="130" y="275"/>
                    <a:pt x="130" y="275"/>
                  </a:cubicBezTo>
                  <a:cubicBezTo>
                    <a:pt x="104" y="275"/>
                    <a:pt x="84" y="295"/>
                    <a:pt x="84" y="318"/>
                  </a:cubicBezTo>
                  <a:cubicBezTo>
                    <a:pt x="84" y="364"/>
                    <a:pt x="84" y="364"/>
                    <a:pt x="84" y="364"/>
                  </a:cubicBezTo>
                  <a:cubicBezTo>
                    <a:pt x="42" y="393"/>
                    <a:pt x="42" y="393"/>
                    <a:pt x="42" y="393"/>
                  </a:cubicBezTo>
                  <a:cubicBezTo>
                    <a:pt x="0" y="364"/>
                    <a:pt x="0" y="364"/>
                    <a:pt x="0" y="364"/>
                  </a:cubicBezTo>
                  <a:cubicBezTo>
                    <a:pt x="0" y="317"/>
                    <a:pt x="0" y="317"/>
                    <a:pt x="0" y="317"/>
                  </a:cubicBezTo>
                  <a:cubicBezTo>
                    <a:pt x="0" y="301"/>
                    <a:pt x="4" y="287"/>
                    <a:pt x="10" y="271"/>
                  </a:cubicBezTo>
                  <a:cubicBezTo>
                    <a:pt x="30" y="231"/>
                    <a:pt x="64" y="206"/>
                    <a:pt x="110" y="199"/>
                  </a:cubicBezTo>
                  <a:cubicBezTo>
                    <a:pt x="124" y="197"/>
                    <a:pt x="124" y="197"/>
                    <a:pt x="124" y="197"/>
                  </a:cubicBezTo>
                  <a:cubicBezTo>
                    <a:pt x="130" y="197"/>
                    <a:pt x="130" y="197"/>
                    <a:pt x="130" y="197"/>
                  </a:cubicBezTo>
                  <a:close/>
                  <a:moveTo>
                    <a:pt x="173" y="49"/>
                  </a:moveTo>
                  <a:cubicBezTo>
                    <a:pt x="229" y="49"/>
                    <a:pt x="229" y="49"/>
                    <a:pt x="229" y="49"/>
                  </a:cubicBezTo>
                  <a:cubicBezTo>
                    <a:pt x="229" y="83"/>
                    <a:pt x="229" y="83"/>
                    <a:pt x="229" y="83"/>
                  </a:cubicBezTo>
                  <a:cubicBezTo>
                    <a:pt x="211" y="83"/>
                    <a:pt x="211" y="83"/>
                    <a:pt x="211" y="83"/>
                  </a:cubicBezTo>
                  <a:lnTo>
                    <a:pt x="173" y="49"/>
                  </a:ln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 name="iṥļïďé"/>
            <p:cNvSpPr/>
            <p:nvPr/>
          </p:nvSpPr>
          <p:spPr bwMode="auto">
            <a:xfrm>
              <a:off x="4515644" y="3299538"/>
              <a:ext cx="877888" cy="822325"/>
            </a:xfrm>
            <a:custGeom>
              <a:avLst/>
              <a:gdLst>
                <a:gd name="T0" fmla="*/ 109 w 192"/>
                <a:gd name="T1" fmla="*/ 101 h 179"/>
                <a:gd name="T2" fmla="*/ 30 w 192"/>
                <a:gd name="T3" fmla="*/ 101 h 179"/>
                <a:gd name="T4" fmla="*/ 0 w 192"/>
                <a:gd name="T5" fmla="*/ 140 h 179"/>
                <a:gd name="T6" fmla="*/ 30 w 192"/>
                <a:gd name="T7" fmla="*/ 179 h 179"/>
                <a:gd name="T8" fmla="*/ 119 w 192"/>
                <a:gd name="T9" fmla="*/ 179 h 179"/>
                <a:gd name="T10" fmla="*/ 192 w 192"/>
                <a:gd name="T11" fmla="*/ 111 h 179"/>
                <a:gd name="T12" fmla="*/ 192 w 192"/>
                <a:gd name="T13" fmla="*/ 0 h 179"/>
                <a:gd name="T14" fmla="*/ 151 w 192"/>
                <a:gd name="T15" fmla="*/ 29 h 179"/>
                <a:gd name="T16" fmla="*/ 109 w 192"/>
                <a:gd name="T17" fmla="*/ 0 h 179"/>
                <a:gd name="T18" fmla="*/ 109 w 192"/>
                <a:gd name="T19" fmla="*/ 10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79">
                  <a:moveTo>
                    <a:pt x="109" y="101"/>
                  </a:moveTo>
                  <a:cubicBezTo>
                    <a:pt x="30" y="101"/>
                    <a:pt x="30" y="101"/>
                    <a:pt x="30" y="101"/>
                  </a:cubicBezTo>
                  <a:cubicBezTo>
                    <a:pt x="0" y="140"/>
                    <a:pt x="0" y="140"/>
                    <a:pt x="0" y="140"/>
                  </a:cubicBezTo>
                  <a:cubicBezTo>
                    <a:pt x="30" y="179"/>
                    <a:pt x="30" y="179"/>
                    <a:pt x="30" y="179"/>
                  </a:cubicBezTo>
                  <a:cubicBezTo>
                    <a:pt x="119" y="179"/>
                    <a:pt x="119" y="179"/>
                    <a:pt x="119" y="179"/>
                  </a:cubicBezTo>
                  <a:cubicBezTo>
                    <a:pt x="159" y="179"/>
                    <a:pt x="192" y="148"/>
                    <a:pt x="192" y="111"/>
                  </a:cubicBezTo>
                  <a:cubicBezTo>
                    <a:pt x="192" y="0"/>
                    <a:pt x="192" y="0"/>
                    <a:pt x="192" y="0"/>
                  </a:cubicBezTo>
                  <a:cubicBezTo>
                    <a:pt x="151" y="29"/>
                    <a:pt x="151" y="29"/>
                    <a:pt x="151" y="29"/>
                  </a:cubicBezTo>
                  <a:cubicBezTo>
                    <a:pt x="109" y="0"/>
                    <a:pt x="109" y="0"/>
                    <a:pt x="109" y="0"/>
                  </a:cubicBezTo>
                  <a:lnTo>
                    <a:pt x="109" y="101"/>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íṧliḋe"/>
            <p:cNvSpPr/>
            <p:nvPr/>
          </p:nvSpPr>
          <p:spPr bwMode="auto">
            <a:xfrm>
              <a:off x="3558381" y="3763088"/>
              <a:ext cx="1003300" cy="358775"/>
            </a:xfrm>
            <a:custGeom>
              <a:avLst/>
              <a:gdLst>
                <a:gd name="T0" fmla="*/ 632 w 632"/>
                <a:gd name="T1" fmla="*/ 0 h 226"/>
                <a:gd name="T2" fmla="*/ 542 w 632"/>
                <a:gd name="T3" fmla="*/ 113 h 226"/>
                <a:gd name="T4" fmla="*/ 632 w 632"/>
                <a:gd name="T5" fmla="*/ 226 h 226"/>
                <a:gd name="T6" fmla="*/ 90 w 632"/>
                <a:gd name="T7" fmla="*/ 226 h 226"/>
                <a:gd name="T8" fmla="*/ 0 w 632"/>
                <a:gd name="T9" fmla="*/ 113 h 226"/>
                <a:gd name="T10" fmla="*/ 90 w 632"/>
                <a:gd name="T11" fmla="*/ 0 h 226"/>
                <a:gd name="T12" fmla="*/ 632 w 632"/>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632" h="226">
                  <a:moveTo>
                    <a:pt x="632" y="0"/>
                  </a:moveTo>
                  <a:lnTo>
                    <a:pt x="542" y="113"/>
                  </a:lnTo>
                  <a:lnTo>
                    <a:pt x="632" y="226"/>
                  </a:lnTo>
                  <a:lnTo>
                    <a:pt x="90" y="226"/>
                  </a:lnTo>
                  <a:lnTo>
                    <a:pt x="0" y="113"/>
                  </a:lnTo>
                  <a:lnTo>
                    <a:pt x="90" y="0"/>
                  </a:lnTo>
                  <a:lnTo>
                    <a:pt x="632" y="0"/>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îṡḷiďé"/>
            <p:cNvSpPr/>
            <p:nvPr/>
          </p:nvSpPr>
          <p:spPr bwMode="auto">
            <a:xfrm>
              <a:off x="7630319" y="3763088"/>
              <a:ext cx="1003300" cy="358775"/>
            </a:xfrm>
            <a:custGeom>
              <a:avLst/>
              <a:gdLst>
                <a:gd name="T0" fmla="*/ 632 w 632"/>
                <a:gd name="T1" fmla="*/ 0 h 226"/>
                <a:gd name="T2" fmla="*/ 542 w 632"/>
                <a:gd name="T3" fmla="*/ 113 h 226"/>
                <a:gd name="T4" fmla="*/ 632 w 632"/>
                <a:gd name="T5" fmla="*/ 226 h 226"/>
                <a:gd name="T6" fmla="*/ 87 w 632"/>
                <a:gd name="T7" fmla="*/ 226 h 226"/>
                <a:gd name="T8" fmla="*/ 0 w 632"/>
                <a:gd name="T9" fmla="*/ 113 h 226"/>
                <a:gd name="T10" fmla="*/ 87 w 632"/>
                <a:gd name="T11" fmla="*/ 0 h 226"/>
                <a:gd name="T12" fmla="*/ 632 w 632"/>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632" h="226">
                  <a:moveTo>
                    <a:pt x="632" y="0"/>
                  </a:moveTo>
                  <a:lnTo>
                    <a:pt x="542" y="113"/>
                  </a:lnTo>
                  <a:lnTo>
                    <a:pt x="632" y="226"/>
                  </a:lnTo>
                  <a:lnTo>
                    <a:pt x="87" y="226"/>
                  </a:lnTo>
                  <a:lnTo>
                    <a:pt x="0" y="113"/>
                  </a:lnTo>
                  <a:lnTo>
                    <a:pt x="87" y="0"/>
                  </a:lnTo>
                  <a:lnTo>
                    <a:pt x="632" y="0"/>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îşļïḑé"/>
            <p:cNvSpPr/>
            <p:nvPr/>
          </p:nvSpPr>
          <p:spPr bwMode="auto">
            <a:xfrm>
              <a:off x="8582819" y="3763088"/>
              <a:ext cx="1001713" cy="358775"/>
            </a:xfrm>
            <a:custGeom>
              <a:avLst/>
              <a:gdLst>
                <a:gd name="T0" fmla="*/ 631 w 631"/>
                <a:gd name="T1" fmla="*/ 0 h 226"/>
                <a:gd name="T2" fmla="*/ 542 w 631"/>
                <a:gd name="T3" fmla="*/ 113 h 226"/>
                <a:gd name="T4" fmla="*/ 631 w 631"/>
                <a:gd name="T5" fmla="*/ 226 h 226"/>
                <a:gd name="T6" fmla="*/ 89 w 631"/>
                <a:gd name="T7" fmla="*/ 226 h 226"/>
                <a:gd name="T8" fmla="*/ 0 w 631"/>
                <a:gd name="T9" fmla="*/ 113 h 226"/>
                <a:gd name="T10" fmla="*/ 89 w 631"/>
                <a:gd name="T11" fmla="*/ 0 h 226"/>
                <a:gd name="T12" fmla="*/ 631 w 631"/>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631" h="226">
                  <a:moveTo>
                    <a:pt x="631" y="0"/>
                  </a:moveTo>
                  <a:lnTo>
                    <a:pt x="542" y="113"/>
                  </a:lnTo>
                  <a:lnTo>
                    <a:pt x="631" y="226"/>
                  </a:lnTo>
                  <a:lnTo>
                    <a:pt x="89" y="226"/>
                  </a:lnTo>
                  <a:lnTo>
                    <a:pt x="0" y="113"/>
                  </a:lnTo>
                  <a:lnTo>
                    <a:pt x="89" y="0"/>
                  </a:lnTo>
                  <a:lnTo>
                    <a:pt x="631" y="0"/>
                  </a:lnTo>
                  <a:close/>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íś1íḍê"/>
            <p:cNvSpPr/>
            <p:nvPr/>
          </p:nvSpPr>
          <p:spPr bwMode="auto">
            <a:xfrm>
              <a:off x="6793706" y="3299538"/>
              <a:ext cx="882650" cy="822325"/>
            </a:xfrm>
            <a:custGeom>
              <a:avLst/>
              <a:gdLst>
                <a:gd name="T0" fmla="*/ 84 w 193"/>
                <a:gd name="T1" fmla="*/ 101 h 179"/>
                <a:gd name="T2" fmla="*/ 84 w 193"/>
                <a:gd name="T3" fmla="*/ 29 h 179"/>
                <a:gd name="T4" fmla="*/ 42 w 193"/>
                <a:gd name="T5" fmla="*/ 0 h 179"/>
                <a:gd name="T6" fmla="*/ 0 w 193"/>
                <a:gd name="T7" fmla="*/ 29 h 179"/>
                <a:gd name="T8" fmla="*/ 0 w 193"/>
                <a:gd name="T9" fmla="*/ 111 h 179"/>
                <a:gd name="T10" fmla="*/ 74 w 193"/>
                <a:gd name="T11" fmla="*/ 179 h 179"/>
                <a:gd name="T12" fmla="*/ 193 w 193"/>
                <a:gd name="T13" fmla="*/ 179 h 179"/>
                <a:gd name="T14" fmla="*/ 162 w 193"/>
                <a:gd name="T15" fmla="*/ 140 h 179"/>
                <a:gd name="T16" fmla="*/ 193 w 193"/>
                <a:gd name="T17" fmla="*/ 101 h 179"/>
                <a:gd name="T18" fmla="*/ 84 w 193"/>
                <a:gd name="T19" fmla="*/ 10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79">
                  <a:moveTo>
                    <a:pt x="84" y="101"/>
                  </a:moveTo>
                  <a:cubicBezTo>
                    <a:pt x="84" y="29"/>
                    <a:pt x="84" y="29"/>
                    <a:pt x="84" y="29"/>
                  </a:cubicBezTo>
                  <a:cubicBezTo>
                    <a:pt x="42" y="0"/>
                    <a:pt x="42" y="0"/>
                    <a:pt x="42" y="0"/>
                  </a:cubicBezTo>
                  <a:cubicBezTo>
                    <a:pt x="0" y="29"/>
                    <a:pt x="0" y="29"/>
                    <a:pt x="0" y="29"/>
                  </a:cubicBezTo>
                  <a:cubicBezTo>
                    <a:pt x="0" y="111"/>
                    <a:pt x="0" y="111"/>
                    <a:pt x="0" y="111"/>
                  </a:cubicBezTo>
                  <a:cubicBezTo>
                    <a:pt x="0" y="148"/>
                    <a:pt x="33" y="179"/>
                    <a:pt x="74" y="179"/>
                  </a:cubicBezTo>
                  <a:cubicBezTo>
                    <a:pt x="193" y="179"/>
                    <a:pt x="193" y="179"/>
                    <a:pt x="193" y="179"/>
                  </a:cubicBezTo>
                  <a:cubicBezTo>
                    <a:pt x="162" y="140"/>
                    <a:pt x="162" y="140"/>
                    <a:pt x="162" y="140"/>
                  </a:cubicBezTo>
                  <a:cubicBezTo>
                    <a:pt x="193" y="101"/>
                    <a:pt x="193" y="101"/>
                    <a:pt x="193" y="101"/>
                  </a:cubicBezTo>
                  <a:lnTo>
                    <a:pt x="84" y="101"/>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íṧḻïḋe"/>
            <p:cNvSpPr/>
            <p:nvPr/>
          </p:nvSpPr>
          <p:spPr bwMode="auto">
            <a:xfrm>
              <a:off x="10490994" y="3299538"/>
              <a:ext cx="882650" cy="822325"/>
            </a:xfrm>
            <a:custGeom>
              <a:avLst/>
              <a:gdLst>
                <a:gd name="T0" fmla="*/ 109 w 193"/>
                <a:gd name="T1" fmla="*/ 101 h 179"/>
                <a:gd name="T2" fmla="*/ 31 w 193"/>
                <a:gd name="T3" fmla="*/ 101 h 179"/>
                <a:gd name="T4" fmla="*/ 0 w 193"/>
                <a:gd name="T5" fmla="*/ 140 h 179"/>
                <a:gd name="T6" fmla="*/ 31 w 193"/>
                <a:gd name="T7" fmla="*/ 179 h 179"/>
                <a:gd name="T8" fmla="*/ 119 w 193"/>
                <a:gd name="T9" fmla="*/ 179 h 179"/>
                <a:gd name="T10" fmla="*/ 193 w 193"/>
                <a:gd name="T11" fmla="*/ 111 h 179"/>
                <a:gd name="T12" fmla="*/ 193 w 193"/>
                <a:gd name="T13" fmla="*/ 0 h 179"/>
                <a:gd name="T14" fmla="*/ 151 w 193"/>
                <a:gd name="T15" fmla="*/ 29 h 179"/>
                <a:gd name="T16" fmla="*/ 109 w 193"/>
                <a:gd name="T17" fmla="*/ 0 h 179"/>
                <a:gd name="T18" fmla="*/ 109 w 193"/>
                <a:gd name="T19" fmla="*/ 10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79">
                  <a:moveTo>
                    <a:pt x="109" y="101"/>
                  </a:moveTo>
                  <a:cubicBezTo>
                    <a:pt x="31" y="101"/>
                    <a:pt x="31" y="101"/>
                    <a:pt x="31" y="101"/>
                  </a:cubicBezTo>
                  <a:cubicBezTo>
                    <a:pt x="0" y="140"/>
                    <a:pt x="0" y="140"/>
                    <a:pt x="0" y="140"/>
                  </a:cubicBezTo>
                  <a:cubicBezTo>
                    <a:pt x="31" y="179"/>
                    <a:pt x="31" y="179"/>
                    <a:pt x="31" y="179"/>
                  </a:cubicBezTo>
                  <a:cubicBezTo>
                    <a:pt x="119" y="179"/>
                    <a:pt x="119" y="179"/>
                    <a:pt x="119" y="179"/>
                  </a:cubicBezTo>
                  <a:cubicBezTo>
                    <a:pt x="160" y="179"/>
                    <a:pt x="193" y="148"/>
                    <a:pt x="193" y="111"/>
                  </a:cubicBezTo>
                  <a:cubicBezTo>
                    <a:pt x="193" y="0"/>
                    <a:pt x="193" y="0"/>
                    <a:pt x="193" y="0"/>
                  </a:cubicBezTo>
                  <a:cubicBezTo>
                    <a:pt x="151" y="29"/>
                    <a:pt x="151" y="29"/>
                    <a:pt x="151" y="29"/>
                  </a:cubicBezTo>
                  <a:cubicBezTo>
                    <a:pt x="109" y="0"/>
                    <a:pt x="109" y="0"/>
                    <a:pt x="109" y="0"/>
                  </a:cubicBezTo>
                  <a:lnTo>
                    <a:pt x="109" y="101"/>
                  </a:lnTo>
                  <a:close/>
                </a:path>
              </a:pathLst>
            </a:custGeom>
            <a:solidFill>
              <a:schemeClr val="accent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iṥľíḑê"/>
            <p:cNvSpPr/>
            <p:nvPr/>
          </p:nvSpPr>
          <p:spPr bwMode="auto">
            <a:xfrm>
              <a:off x="9533731" y="3763088"/>
              <a:ext cx="1003300" cy="358775"/>
            </a:xfrm>
            <a:custGeom>
              <a:avLst/>
              <a:gdLst>
                <a:gd name="T0" fmla="*/ 632 w 632"/>
                <a:gd name="T1" fmla="*/ 0 h 226"/>
                <a:gd name="T2" fmla="*/ 542 w 632"/>
                <a:gd name="T3" fmla="*/ 113 h 226"/>
                <a:gd name="T4" fmla="*/ 632 w 632"/>
                <a:gd name="T5" fmla="*/ 226 h 226"/>
                <a:gd name="T6" fmla="*/ 90 w 632"/>
                <a:gd name="T7" fmla="*/ 226 h 226"/>
                <a:gd name="T8" fmla="*/ 0 w 632"/>
                <a:gd name="T9" fmla="*/ 113 h 226"/>
                <a:gd name="T10" fmla="*/ 90 w 632"/>
                <a:gd name="T11" fmla="*/ 0 h 226"/>
                <a:gd name="T12" fmla="*/ 632 w 632"/>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632" h="226">
                  <a:moveTo>
                    <a:pt x="632" y="0"/>
                  </a:moveTo>
                  <a:lnTo>
                    <a:pt x="542" y="113"/>
                  </a:lnTo>
                  <a:lnTo>
                    <a:pt x="632" y="226"/>
                  </a:lnTo>
                  <a:lnTo>
                    <a:pt x="90" y="226"/>
                  </a:lnTo>
                  <a:lnTo>
                    <a:pt x="0" y="113"/>
                  </a:lnTo>
                  <a:lnTo>
                    <a:pt x="90" y="0"/>
                  </a:lnTo>
                  <a:lnTo>
                    <a:pt x="632" y="0"/>
                  </a:lnTo>
                  <a:close/>
                </a:path>
              </a:pathLst>
            </a:custGeom>
            <a:solidFill>
              <a:schemeClr val="accent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išḻîde"/>
            <p:cNvSpPr/>
            <p:nvPr/>
          </p:nvSpPr>
          <p:spPr bwMode="auto">
            <a:xfrm>
              <a:off x="10490994" y="2523250"/>
              <a:ext cx="882650" cy="822325"/>
            </a:xfrm>
            <a:custGeom>
              <a:avLst/>
              <a:gdLst>
                <a:gd name="T0" fmla="*/ 109 w 193"/>
                <a:gd name="T1" fmla="*/ 77 h 179"/>
                <a:gd name="T2" fmla="*/ 109 w 193"/>
                <a:gd name="T3" fmla="*/ 150 h 179"/>
                <a:gd name="T4" fmla="*/ 151 w 193"/>
                <a:gd name="T5" fmla="*/ 179 h 179"/>
                <a:gd name="T6" fmla="*/ 193 w 193"/>
                <a:gd name="T7" fmla="*/ 150 h 179"/>
                <a:gd name="T8" fmla="*/ 193 w 193"/>
                <a:gd name="T9" fmla="*/ 68 h 179"/>
                <a:gd name="T10" fmla="*/ 119 w 193"/>
                <a:gd name="T11" fmla="*/ 0 h 179"/>
                <a:gd name="T12" fmla="*/ 0 w 193"/>
                <a:gd name="T13" fmla="*/ 0 h 179"/>
                <a:gd name="T14" fmla="*/ 31 w 193"/>
                <a:gd name="T15" fmla="*/ 38 h 179"/>
                <a:gd name="T16" fmla="*/ 0 w 193"/>
                <a:gd name="T17" fmla="*/ 77 h 179"/>
                <a:gd name="T18" fmla="*/ 109 w 193"/>
                <a:gd name="T19" fmla="*/ 7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79">
                  <a:moveTo>
                    <a:pt x="109" y="77"/>
                  </a:moveTo>
                  <a:cubicBezTo>
                    <a:pt x="109" y="150"/>
                    <a:pt x="109" y="150"/>
                    <a:pt x="109" y="150"/>
                  </a:cubicBezTo>
                  <a:cubicBezTo>
                    <a:pt x="151" y="179"/>
                    <a:pt x="151" y="179"/>
                    <a:pt x="151" y="179"/>
                  </a:cubicBezTo>
                  <a:cubicBezTo>
                    <a:pt x="193" y="150"/>
                    <a:pt x="193" y="150"/>
                    <a:pt x="193" y="150"/>
                  </a:cubicBezTo>
                  <a:cubicBezTo>
                    <a:pt x="193" y="68"/>
                    <a:pt x="193" y="68"/>
                    <a:pt x="193" y="68"/>
                  </a:cubicBezTo>
                  <a:cubicBezTo>
                    <a:pt x="193" y="30"/>
                    <a:pt x="160" y="0"/>
                    <a:pt x="119" y="0"/>
                  </a:cubicBezTo>
                  <a:cubicBezTo>
                    <a:pt x="0" y="0"/>
                    <a:pt x="0" y="0"/>
                    <a:pt x="0" y="0"/>
                  </a:cubicBezTo>
                  <a:cubicBezTo>
                    <a:pt x="31" y="38"/>
                    <a:pt x="31" y="38"/>
                    <a:pt x="31" y="38"/>
                  </a:cubicBezTo>
                  <a:cubicBezTo>
                    <a:pt x="0" y="77"/>
                    <a:pt x="0" y="77"/>
                    <a:pt x="0" y="77"/>
                  </a:cubicBezTo>
                  <a:lnTo>
                    <a:pt x="109" y="77"/>
                  </a:lnTo>
                  <a:close/>
                </a:path>
              </a:pathLst>
            </a:custGeom>
            <a:solidFill>
              <a:schemeClr val="tx2">
                <a:lumMod val="20000"/>
                <a:lumOff val="80000"/>
              </a:schemeClr>
            </a:solidFill>
            <a:ln>
              <a:noFill/>
            </a:ln>
          </p:spPr>
          <p:txBody>
            <a:bodyPr anchor="ctr"/>
            <a:lstStyle/>
            <a:p>
              <a:pPr algn="ctr"/>
              <a:endParaRPr/>
            </a:p>
          </p:txBody>
        </p:sp>
        <p:sp>
          <p:nvSpPr>
            <p:cNvPr id="19" name="ïṣḻíḑê"/>
            <p:cNvSpPr/>
            <p:nvPr/>
          </p:nvSpPr>
          <p:spPr bwMode="auto">
            <a:xfrm>
              <a:off x="1681163" y="2512962"/>
              <a:ext cx="3094038" cy="1106488"/>
            </a:xfrm>
            <a:custGeom>
              <a:avLst/>
              <a:gdLst>
                <a:gd name="T0" fmla="*/ 603 w 676"/>
                <a:gd name="T1" fmla="*/ 241 h 241"/>
                <a:gd name="T2" fmla="*/ 73 w 676"/>
                <a:gd name="T3" fmla="*/ 241 h 241"/>
                <a:gd name="T4" fmla="*/ 0 w 676"/>
                <a:gd name="T5" fmla="*/ 173 h 241"/>
                <a:gd name="T6" fmla="*/ 0 w 676"/>
                <a:gd name="T7" fmla="*/ 68 h 241"/>
                <a:gd name="T8" fmla="*/ 73 w 676"/>
                <a:gd name="T9" fmla="*/ 0 h 241"/>
                <a:gd name="T10" fmla="*/ 603 w 676"/>
                <a:gd name="T11" fmla="*/ 0 h 241"/>
                <a:gd name="T12" fmla="*/ 676 w 676"/>
                <a:gd name="T13" fmla="*/ 68 h 241"/>
                <a:gd name="T14" fmla="*/ 676 w 676"/>
                <a:gd name="T15" fmla="*/ 173 h 241"/>
                <a:gd name="T16" fmla="*/ 603 w 676"/>
                <a:gd name="T17"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6" h="241">
                  <a:moveTo>
                    <a:pt x="603" y="241"/>
                  </a:moveTo>
                  <a:cubicBezTo>
                    <a:pt x="73" y="241"/>
                    <a:pt x="73" y="241"/>
                    <a:pt x="73" y="241"/>
                  </a:cubicBezTo>
                  <a:cubicBezTo>
                    <a:pt x="33" y="241"/>
                    <a:pt x="0" y="211"/>
                    <a:pt x="0" y="173"/>
                  </a:cubicBezTo>
                  <a:cubicBezTo>
                    <a:pt x="0" y="68"/>
                    <a:pt x="0" y="68"/>
                    <a:pt x="0" y="68"/>
                  </a:cubicBezTo>
                  <a:cubicBezTo>
                    <a:pt x="0" y="31"/>
                    <a:pt x="33" y="0"/>
                    <a:pt x="73" y="0"/>
                  </a:cubicBezTo>
                  <a:cubicBezTo>
                    <a:pt x="603" y="0"/>
                    <a:pt x="603" y="0"/>
                    <a:pt x="603" y="0"/>
                  </a:cubicBezTo>
                  <a:cubicBezTo>
                    <a:pt x="643" y="0"/>
                    <a:pt x="676" y="31"/>
                    <a:pt x="676" y="68"/>
                  </a:cubicBezTo>
                  <a:cubicBezTo>
                    <a:pt x="676" y="173"/>
                    <a:pt x="676" y="173"/>
                    <a:pt x="676" y="173"/>
                  </a:cubicBezTo>
                  <a:cubicBezTo>
                    <a:pt x="676" y="211"/>
                    <a:pt x="643" y="241"/>
                    <a:pt x="603" y="241"/>
                  </a:cubicBezTo>
                  <a:close/>
                </a:path>
              </a:pathLst>
            </a:custGeom>
            <a:solidFill>
              <a:schemeClr val="tx2">
                <a:lumMod val="20000"/>
                <a:lumOff val="80000"/>
              </a:schemeClr>
            </a:solidFill>
            <a:ln>
              <a:noFill/>
            </a:ln>
          </p:spPr>
          <p:txBody>
            <a:bodyPr vert="horz" wrap="square" lIns="91440" tIns="46800" rIns="91440" bIns="46800" anchor="ctr" anchorCtr="0" compatLnSpc="1">
              <a:normAutofit/>
            </a:bodyPr>
            <a:lstStyle/>
            <a:p>
              <a:pPr algn="ctr">
                <a:lnSpc>
                  <a:spcPct val="120000"/>
                </a:lnSpc>
              </a:pPr>
              <a:r>
                <a:rPr lang="zh-CN" altLang="en-US" sz="3200" b="1" dirty="0"/>
                <a:t>对于初学者</a:t>
              </a:r>
            </a:p>
          </p:txBody>
        </p:sp>
        <p:sp>
          <p:nvSpPr>
            <p:cNvPr id="20" name="is1iḋè"/>
            <p:cNvSpPr/>
            <p:nvPr/>
          </p:nvSpPr>
          <p:spPr bwMode="auto">
            <a:xfrm>
              <a:off x="5723731" y="2977275"/>
              <a:ext cx="744538" cy="1144588"/>
            </a:xfrm>
            <a:custGeom>
              <a:avLst/>
              <a:gdLst>
                <a:gd name="T0" fmla="*/ 81 w 163"/>
                <a:gd name="T1" fmla="*/ 249 h 249"/>
                <a:gd name="T2" fmla="*/ 163 w 163"/>
                <a:gd name="T3" fmla="*/ 173 h 249"/>
                <a:gd name="T4" fmla="*/ 154 w 163"/>
                <a:gd name="T5" fmla="*/ 139 h 249"/>
                <a:gd name="T6" fmla="*/ 81 w 163"/>
                <a:gd name="T7" fmla="*/ 0 h 249"/>
                <a:gd name="T8" fmla="*/ 9 w 163"/>
                <a:gd name="T9" fmla="*/ 139 h 249"/>
                <a:gd name="T10" fmla="*/ 0 w 163"/>
                <a:gd name="T11" fmla="*/ 173 h 249"/>
                <a:gd name="T12" fmla="*/ 81 w 163"/>
                <a:gd name="T13" fmla="*/ 249 h 249"/>
                <a:gd name="T14" fmla="*/ 53 w 163"/>
                <a:gd name="T15" fmla="*/ 102 h 249"/>
                <a:gd name="T16" fmla="*/ 44 w 163"/>
                <a:gd name="T17" fmla="*/ 117 h 249"/>
                <a:gd name="T18" fmla="*/ 31 w 163"/>
                <a:gd name="T19" fmla="*/ 172 h 249"/>
                <a:gd name="T20" fmla="*/ 31 w 163"/>
                <a:gd name="T21" fmla="*/ 186 h 249"/>
                <a:gd name="T22" fmla="*/ 33 w 163"/>
                <a:gd name="T23" fmla="*/ 198 h 249"/>
                <a:gd name="T24" fmla="*/ 37 w 163"/>
                <a:gd name="T25" fmla="*/ 211 h 249"/>
                <a:gd name="T26" fmla="*/ 42 w 163"/>
                <a:gd name="T27" fmla="*/ 222 h 249"/>
                <a:gd name="T28" fmla="*/ 39 w 163"/>
                <a:gd name="T29" fmla="*/ 221 h 249"/>
                <a:gd name="T30" fmla="*/ 34 w 163"/>
                <a:gd name="T31" fmla="*/ 217 h 249"/>
                <a:gd name="T32" fmla="*/ 30 w 163"/>
                <a:gd name="T33" fmla="*/ 212 h 249"/>
                <a:gd name="T34" fmla="*/ 26 w 163"/>
                <a:gd name="T35" fmla="*/ 208 h 249"/>
                <a:gd name="T36" fmla="*/ 23 w 163"/>
                <a:gd name="T37" fmla="*/ 202 h 249"/>
                <a:gd name="T38" fmla="*/ 20 w 163"/>
                <a:gd name="T39" fmla="*/ 197 h 249"/>
                <a:gd name="T40" fmla="*/ 18 w 163"/>
                <a:gd name="T41" fmla="*/ 191 h 249"/>
                <a:gd name="T42" fmla="*/ 16 w 163"/>
                <a:gd name="T43" fmla="*/ 186 h 249"/>
                <a:gd name="T44" fmla="*/ 15 w 163"/>
                <a:gd name="T45" fmla="*/ 179 h 249"/>
                <a:gd name="T46" fmla="*/ 15 w 163"/>
                <a:gd name="T47" fmla="*/ 173 h 249"/>
                <a:gd name="T48" fmla="*/ 21 w 163"/>
                <a:gd name="T49" fmla="*/ 147 h 249"/>
                <a:gd name="T50" fmla="*/ 46 w 163"/>
                <a:gd name="T51" fmla="*/ 110 h 249"/>
                <a:gd name="T52" fmla="*/ 53 w 163"/>
                <a:gd name="T53" fmla="*/ 10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3" h="249">
                  <a:moveTo>
                    <a:pt x="81" y="249"/>
                  </a:moveTo>
                  <a:cubicBezTo>
                    <a:pt x="126" y="249"/>
                    <a:pt x="163" y="215"/>
                    <a:pt x="163" y="173"/>
                  </a:cubicBezTo>
                  <a:cubicBezTo>
                    <a:pt x="163" y="161"/>
                    <a:pt x="160" y="149"/>
                    <a:pt x="154" y="139"/>
                  </a:cubicBezTo>
                  <a:cubicBezTo>
                    <a:pt x="128" y="92"/>
                    <a:pt x="82" y="60"/>
                    <a:pt x="81" y="0"/>
                  </a:cubicBezTo>
                  <a:cubicBezTo>
                    <a:pt x="81" y="60"/>
                    <a:pt x="34" y="92"/>
                    <a:pt x="9" y="139"/>
                  </a:cubicBezTo>
                  <a:cubicBezTo>
                    <a:pt x="3" y="149"/>
                    <a:pt x="0" y="161"/>
                    <a:pt x="0" y="173"/>
                  </a:cubicBezTo>
                  <a:cubicBezTo>
                    <a:pt x="0" y="215"/>
                    <a:pt x="36" y="249"/>
                    <a:pt x="81" y="249"/>
                  </a:cubicBezTo>
                  <a:close/>
                  <a:moveTo>
                    <a:pt x="53" y="102"/>
                  </a:moveTo>
                  <a:cubicBezTo>
                    <a:pt x="50" y="107"/>
                    <a:pt x="47" y="112"/>
                    <a:pt x="44" y="117"/>
                  </a:cubicBezTo>
                  <a:cubicBezTo>
                    <a:pt x="35" y="135"/>
                    <a:pt x="31" y="152"/>
                    <a:pt x="31" y="172"/>
                  </a:cubicBezTo>
                  <a:cubicBezTo>
                    <a:pt x="31" y="186"/>
                    <a:pt x="31" y="186"/>
                    <a:pt x="31" y="186"/>
                  </a:cubicBezTo>
                  <a:cubicBezTo>
                    <a:pt x="33" y="198"/>
                    <a:pt x="33" y="198"/>
                    <a:pt x="33" y="198"/>
                  </a:cubicBezTo>
                  <a:cubicBezTo>
                    <a:pt x="37" y="211"/>
                    <a:pt x="37" y="211"/>
                    <a:pt x="37" y="211"/>
                  </a:cubicBezTo>
                  <a:cubicBezTo>
                    <a:pt x="42" y="222"/>
                    <a:pt x="42" y="222"/>
                    <a:pt x="42" y="222"/>
                  </a:cubicBezTo>
                  <a:cubicBezTo>
                    <a:pt x="39" y="221"/>
                    <a:pt x="39" y="221"/>
                    <a:pt x="39" y="221"/>
                  </a:cubicBezTo>
                  <a:cubicBezTo>
                    <a:pt x="34" y="217"/>
                    <a:pt x="34" y="217"/>
                    <a:pt x="34" y="217"/>
                  </a:cubicBezTo>
                  <a:cubicBezTo>
                    <a:pt x="30" y="212"/>
                    <a:pt x="30" y="212"/>
                    <a:pt x="30" y="212"/>
                  </a:cubicBezTo>
                  <a:cubicBezTo>
                    <a:pt x="26" y="208"/>
                    <a:pt x="26" y="208"/>
                    <a:pt x="26" y="208"/>
                  </a:cubicBezTo>
                  <a:cubicBezTo>
                    <a:pt x="23" y="202"/>
                    <a:pt x="23" y="202"/>
                    <a:pt x="23" y="202"/>
                  </a:cubicBezTo>
                  <a:cubicBezTo>
                    <a:pt x="20" y="197"/>
                    <a:pt x="20" y="197"/>
                    <a:pt x="20" y="197"/>
                  </a:cubicBezTo>
                  <a:cubicBezTo>
                    <a:pt x="18" y="191"/>
                    <a:pt x="18" y="191"/>
                    <a:pt x="18" y="191"/>
                  </a:cubicBezTo>
                  <a:cubicBezTo>
                    <a:pt x="16" y="186"/>
                    <a:pt x="16" y="186"/>
                    <a:pt x="16" y="186"/>
                  </a:cubicBezTo>
                  <a:cubicBezTo>
                    <a:pt x="15" y="179"/>
                    <a:pt x="15" y="179"/>
                    <a:pt x="15" y="179"/>
                  </a:cubicBezTo>
                  <a:cubicBezTo>
                    <a:pt x="15" y="173"/>
                    <a:pt x="15" y="173"/>
                    <a:pt x="15" y="173"/>
                  </a:cubicBezTo>
                  <a:cubicBezTo>
                    <a:pt x="15" y="164"/>
                    <a:pt x="17" y="155"/>
                    <a:pt x="21" y="147"/>
                  </a:cubicBezTo>
                  <a:cubicBezTo>
                    <a:pt x="28" y="134"/>
                    <a:pt x="37" y="122"/>
                    <a:pt x="46" y="110"/>
                  </a:cubicBezTo>
                  <a:cubicBezTo>
                    <a:pt x="48" y="107"/>
                    <a:pt x="51" y="105"/>
                    <a:pt x="53" y="102"/>
                  </a:cubicBezTo>
                  <a:close/>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nvGrpSpPr>
            <p:cNvPr id="21" name="îṡḻide"/>
            <p:cNvGrpSpPr>
              <a:grpSpLocks noChangeAspect="1"/>
            </p:cNvGrpSpPr>
            <p:nvPr/>
          </p:nvGrpSpPr>
          <p:grpSpPr>
            <a:xfrm>
              <a:off x="741524" y="4898153"/>
              <a:ext cx="866703" cy="887945"/>
              <a:chOff x="497420" y="3238498"/>
              <a:chExt cx="431802" cy="442385"/>
            </a:xfrm>
          </p:grpSpPr>
          <p:sp>
            <p:nvSpPr>
              <p:cNvPr id="39" name="îṡ1iḋê"/>
              <p:cNvSpPr/>
              <p:nvPr/>
            </p:nvSpPr>
            <p:spPr bwMode="auto">
              <a:xfrm>
                <a:off x="497420" y="3238498"/>
                <a:ext cx="431802" cy="442385"/>
              </a:xfrm>
              <a:prstGeom prst="rect">
                <a:avLst/>
              </a:prstGeom>
              <a:solidFill>
                <a:schemeClr val="accent2"/>
              </a:solidFill>
              <a:ln w="9525">
                <a:noFill/>
                <a:miter lim="800000"/>
              </a:ln>
            </p:spPr>
            <p:txBody>
              <a:bodyPr anchor="ctr"/>
              <a:lstStyle/>
              <a:p>
                <a:pPr algn="ctr"/>
                <a:endParaRPr/>
              </a:p>
            </p:txBody>
          </p:sp>
          <p:sp>
            <p:nvSpPr>
              <p:cNvPr id="40" name="ïṣľíḓé"/>
              <p:cNvSpPr/>
              <p:nvPr/>
            </p:nvSpPr>
            <p:spPr bwMode="auto">
              <a:xfrm>
                <a:off x="649821" y="3318932"/>
                <a:ext cx="279401" cy="361951"/>
              </a:xfrm>
              <a:custGeom>
                <a:avLst/>
                <a:gdLst/>
                <a:ahLst/>
                <a:cxnLst>
                  <a:cxn ang="0">
                    <a:pos x="69" y="32"/>
                  </a:cxn>
                  <a:cxn ang="0">
                    <a:pos x="58" y="43"/>
                  </a:cxn>
                  <a:cxn ang="0">
                    <a:pos x="15" y="0"/>
                  </a:cxn>
                  <a:cxn ang="0">
                    <a:pos x="0" y="9"/>
                  </a:cxn>
                  <a:cxn ang="0">
                    <a:pos x="4" y="99"/>
                  </a:cxn>
                  <a:cxn ang="0">
                    <a:pos x="73" y="171"/>
                  </a:cxn>
                  <a:cxn ang="0">
                    <a:pos x="132" y="171"/>
                  </a:cxn>
                  <a:cxn ang="0">
                    <a:pos x="132" y="96"/>
                  </a:cxn>
                  <a:cxn ang="0">
                    <a:pos x="69" y="32"/>
                  </a:cxn>
                </a:cxnLst>
                <a:rect l="0" t="0" r="r" b="b"/>
                <a:pathLst>
                  <a:path w="132" h="171">
                    <a:moveTo>
                      <a:pt x="69" y="32"/>
                    </a:moveTo>
                    <a:lnTo>
                      <a:pt x="58" y="43"/>
                    </a:lnTo>
                    <a:lnTo>
                      <a:pt x="15" y="0"/>
                    </a:lnTo>
                    <a:lnTo>
                      <a:pt x="0" y="9"/>
                    </a:lnTo>
                    <a:lnTo>
                      <a:pt x="4" y="99"/>
                    </a:lnTo>
                    <a:lnTo>
                      <a:pt x="73" y="171"/>
                    </a:lnTo>
                    <a:lnTo>
                      <a:pt x="132" y="171"/>
                    </a:lnTo>
                    <a:lnTo>
                      <a:pt x="132" y="96"/>
                    </a:lnTo>
                    <a:lnTo>
                      <a:pt x="69" y="32"/>
                    </a:lnTo>
                    <a:close/>
                  </a:path>
                </a:pathLst>
              </a:custGeom>
              <a:solidFill>
                <a:schemeClr val="accent2">
                  <a:lumMod val="75000"/>
                </a:schemeClr>
              </a:solidFill>
              <a:ln w="9525">
                <a:noFill/>
                <a:round/>
              </a:ln>
            </p:spPr>
            <p:txBody>
              <a:bodyPr anchor="ctr"/>
              <a:lstStyle/>
              <a:p>
                <a:pPr algn="ctr"/>
                <a:endParaRPr/>
              </a:p>
            </p:txBody>
          </p:sp>
          <p:sp>
            <p:nvSpPr>
              <p:cNvPr id="41" name="iṥḻíḓe"/>
              <p:cNvSpPr/>
              <p:nvPr/>
            </p:nvSpPr>
            <p:spPr bwMode="auto">
              <a:xfrm>
                <a:off x="609604" y="3297765"/>
                <a:ext cx="209551" cy="306918"/>
              </a:xfrm>
              <a:custGeom>
                <a:avLst/>
                <a:gdLst/>
                <a:ahLst/>
                <a:cxnLst>
                  <a:cxn ang="0">
                    <a:pos x="50" y="47"/>
                  </a:cxn>
                  <a:cxn ang="0">
                    <a:pos x="44" y="32"/>
                  </a:cxn>
                  <a:cxn ang="0">
                    <a:pos x="44" y="31"/>
                  </a:cxn>
                  <a:cxn ang="0">
                    <a:pos x="42" y="27"/>
                  </a:cxn>
                  <a:cxn ang="0">
                    <a:pos x="40" y="31"/>
                  </a:cxn>
                  <a:cxn ang="0">
                    <a:pos x="40" y="31"/>
                  </a:cxn>
                  <a:cxn ang="0">
                    <a:pos x="32" y="47"/>
                  </a:cxn>
                  <a:cxn ang="0">
                    <a:pos x="31" y="43"/>
                  </a:cxn>
                  <a:cxn ang="0">
                    <a:pos x="33" y="24"/>
                  </a:cxn>
                  <a:cxn ang="0">
                    <a:pos x="50" y="26"/>
                  </a:cxn>
                  <a:cxn ang="0">
                    <a:pos x="50" y="47"/>
                  </a:cxn>
                  <a:cxn ang="0">
                    <a:pos x="43" y="35"/>
                  </a:cxn>
                  <a:cxn ang="0">
                    <a:pos x="41" y="36"/>
                  </a:cxn>
                  <a:cxn ang="0">
                    <a:pos x="40" y="35"/>
                  </a:cxn>
                  <a:cxn ang="0">
                    <a:pos x="35" y="57"/>
                  </a:cxn>
                  <a:cxn ang="0">
                    <a:pos x="32" y="52"/>
                  </a:cxn>
                  <a:cxn ang="0">
                    <a:pos x="30" y="61"/>
                  </a:cxn>
                  <a:cxn ang="0">
                    <a:pos x="33" y="75"/>
                  </a:cxn>
                  <a:cxn ang="0">
                    <a:pos x="46" y="64"/>
                  </a:cxn>
                  <a:cxn ang="0">
                    <a:pos x="48" y="55"/>
                  </a:cxn>
                  <a:cxn ang="0">
                    <a:pos x="45" y="58"/>
                  </a:cxn>
                  <a:cxn ang="0">
                    <a:pos x="43" y="35"/>
                  </a:cxn>
                  <a:cxn ang="0">
                    <a:pos x="9" y="17"/>
                  </a:cxn>
                  <a:cxn ang="0">
                    <a:pos x="9" y="16"/>
                  </a:cxn>
                  <a:cxn ang="0">
                    <a:pos x="10" y="12"/>
                  </a:cxn>
                  <a:cxn ang="0">
                    <a:pos x="13" y="16"/>
                  </a:cxn>
                  <a:cxn ang="0">
                    <a:pos x="13" y="16"/>
                  </a:cxn>
                  <a:cxn ang="0">
                    <a:pos x="21" y="32"/>
                  </a:cxn>
                  <a:cxn ang="0">
                    <a:pos x="22" y="28"/>
                  </a:cxn>
                  <a:cxn ang="0">
                    <a:pos x="20" y="9"/>
                  </a:cxn>
                  <a:cxn ang="0">
                    <a:pos x="2" y="11"/>
                  </a:cxn>
                  <a:cxn ang="0">
                    <a:pos x="3" y="32"/>
                  </a:cxn>
                  <a:cxn ang="0">
                    <a:pos x="9" y="17"/>
                  </a:cxn>
                  <a:cxn ang="0">
                    <a:pos x="21" y="37"/>
                  </a:cxn>
                  <a:cxn ang="0">
                    <a:pos x="18" y="42"/>
                  </a:cxn>
                  <a:cxn ang="0">
                    <a:pos x="13" y="20"/>
                  </a:cxn>
                  <a:cxn ang="0">
                    <a:pos x="12" y="21"/>
                  </a:cxn>
                  <a:cxn ang="0">
                    <a:pos x="10" y="20"/>
                  </a:cxn>
                  <a:cxn ang="0">
                    <a:pos x="8" y="43"/>
                  </a:cxn>
                  <a:cxn ang="0">
                    <a:pos x="5" y="40"/>
                  </a:cxn>
                  <a:cxn ang="0">
                    <a:pos x="7" y="49"/>
                  </a:cxn>
                  <a:cxn ang="0">
                    <a:pos x="20" y="60"/>
                  </a:cxn>
                  <a:cxn ang="0">
                    <a:pos x="23" y="46"/>
                  </a:cxn>
                  <a:cxn ang="0">
                    <a:pos x="21" y="37"/>
                  </a:cxn>
                </a:cxnLst>
                <a:rect l="0" t="0" r="r" b="b"/>
                <a:pathLst>
                  <a:path w="53" h="77">
                    <a:moveTo>
                      <a:pt x="50" y="47"/>
                    </a:moveTo>
                    <a:cubicBezTo>
                      <a:pt x="51" y="38"/>
                      <a:pt x="46" y="34"/>
                      <a:pt x="44" y="32"/>
                    </a:cubicBezTo>
                    <a:cubicBezTo>
                      <a:pt x="44" y="32"/>
                      <a:pt x="44" y="32"/>
                      <a:pt x="44" y="31"/>
                    </a:cubicBezTo>
                    <a:cubicBezTo>
                      <a:pt x="44" y="29"/>
                      <a:pt x="43" y="27"/>
                      <a:pt x="42" y="27"/>
                    </a:cubicBezTo>
                    <a:cubicBezTo>
                      <a:pt x="41" y="27"/>
                      <a:pt x="40" y="29"/>
                      <a:pt x="40" y="31"/>
                    </a:cubicBezTo>
                    <a:cubicBezTo>
                      <a:pt x="40" y="31"/>
                      <a:pt x="40" y="31"/>
                      <a:pt x="40" y="31"/>
                    </a:cubicBezTo>
                    <a:cubicBezTo>
                      <a:pt x="33" y="37"/>
                      <a:pt x="32" y="42"/>
                      <a:pt x="32" y="47"/>
                    </a:cubicBezTo>
                    <a:cubicBezTo>
                      <a:pt x="32" y="46"/>
                      <a:pt x="32" y="44"/>
                      <a:pt x="31" y="43"/>
                    </a:cubicBezTo>
                    <a:cubicBezTo>
                      <a:pt x="30" y="32"/>
                      <a:pt x="33" y="24"/>
                      <a:pt x="33" y="24"/>
                    </a:cubicBezTo>
                    <a:cubicBezTo>
                      <a:pt x="37" y="15"/>
                      <a:pt x="46" y="19"/>
                      <a:pt x="50" y="26"/>
                    </a:cubicBezTo>
                    <a:cubicBezTo>
                      <a:pt x="53" y="30"/>
                      <a:pt x="52" y="38"/>
                      <a:pt x="50" y="47"/>
                    </a:cubicBezTo>
                    <a:close/>
                    <a:moveTo>
                      <a:pt x="43" y="35"/>
                    </a:moveTo>
                    <a:cubicBezTo>
                      <a:pt x="43" y="36"/>
                      <a:pt x="42" y="37"/>
                      <a:pt x="41" y="36"/>
                    </a:cubicBezTo>
                    <a:cubicBezTo>
                      <a:pt x="41" y="36"/>
                      <a:pt x="41" y="36"/>
                      <a:pt x="40" y="35"/>
                    </a:cubicBezTo>
                    <a:cubicBezTo>
                      <a:pt x="33" y="44"/>
                      <a:pt x="35" y="57"/>
                      <a:pt x="35" y="57"/>
                    </a:cubicBezTo>
                    <a:cubicBezTo>
                      <a:pt x="32" y="52"/>
                      <a:pt x="32" y="52"/>
                      <a:pt x="32" y="52"/>
                    </a:cubicBezTo>
                    <a:cubicBezTo>
                      <a:pt x="32" y="52"/>
                      <a:pt x="31" y="59"/>
                      <a:pt x="30" y="61"/>
                    </a:cubicBezTo>
                    <a:cubicBezTo>
                      <a:pt x="29" y="63"/>
                      <a:pt x="26" y="73"/>
                      <a:pt x="33" y="75"/>
                    </a:cubicBezTo>
                    <a:cubicBezTo>
                      <a:pt x="40" y="77"/>
                      <a:pt x="44" y="72"/>
                      <a:pt x="46" y="64"/>
                    </a:cubicBezTo>
                    <a:cubicBezTo>
                      <a:pt x="46" y="62"/>
                      <a:pt x="47" y="59"/>
                      <a:pt x="48" y="55"/>
                    </a:cubicBezTo>
                    <a:cubicBezTo>
                      <a:pt x="45" y="58"/>
                      <a:pt x="45" y="58"/>
                      <a:pt x="45" y="58"/>
                    </a:cubicBezTo>
                    <a:cubicBezTo>
                      <a:pt x="49" y="47"/>
                      <a:pt x="46" y="39"/>
                      <a:pt x="43" y="35"/>
                    </a:cubicBezTo>
                    <a:close/>
                    <a:moveTo>
                      <a:pt x="9" y="17"/>
                    </a:moveTo>
                    <a:cubicBezTo>
                      <a:pt x="9" y="17"/>
                      <a:pt x="9" y="16"/>
                      <a:pt x="9" y="16"/>
                    </a:cubicBezTo>
                    <a:cubicBezTo>
                      <a:pt x="9" y="14"/>
                      <a:pt x="9" y="12"/>
                      <a:pt x="10" y="12"/>
                    </a:cubicBezTo>
                    <a:cubicBezTo>
                      <a:pt x="12" y="12"/>
                      <a:pt x="13" y="14"/>
                      <a:pt x="13" y="16"/>
                    </a:cubicBezTo>
                    <a:cubicBezTo>
                      <a:pt x="13" y="16"/>
                      <a:pt x="13" y="16"/>
                      <a:pt x="13" y="16"/>
                    </a:cubicBezTo>
                    <a:cubicBezTo>
                      <a:pt x="19" y="22"/>
                      <a:pt x="21" y="27"/>
                      <a:pt x="21" y="32"/>
                    </a:cubicBezTo>
                    <a:cubicBezTo>
                      <a:pt x="21" y="31"/>
                      <a:pt x="21" y="29"/>
                      <a:pt x="22" y="28"/>
                    </a:cubicBezTo>
                    <a:cubicBezTo>
                      <a:pt x="23" y="17"/>
                      <a:pt x="20" y="9"/>
                      <a:pt x="20" y="9"/>
                    </a:cubicBezTo>
                    <a:cubicBezTo>
                      <a:pt x="16" y="0"/>
                      <a:pt x="7" y="4"/>
                      <a:pt x="2" y="11"/>
                    </a:cubicBezTo>
                    <a:cubicBezTo>
                      <a:pt x="0" y="15"/>
                      <a:pt x="1" y="23"/>
                      <a:pt x="3" y="32"/>
                    </a:cubicBezTo>
                    <a:cubicBezTo>
                      <a:pt x="2" y="23"/>
                      <a:pt x="7" y="19"/>
                      <a:pt x="9" y="17"/>
                    </a:cubicBezTo>
                    <a:close/>
                    <a:moveTo>
                      <a:pt x="21" y="37"/>
                    </a:moveTo>
                    <a:cubicBezTo>
                      <a:pt x="18" y="42"/>
                      <a:pt x="18" y="42"/>
                      <a:pt x="18" y="42"/>
                    </a:cubicBezTo>
                    <a:cubicBezTo>
                      <a:pt x="18" y="42"/>
                      <a:pt x="20" y="29"/>
                      <a:pt x="13" y="20"/>
                    </a:cubicBezTo>
                    <a:cubicBezTo>
                      <a:pt x="12" y="21"/>
                      <a:pt x="12" y="21"/>
                      <a:pt x="12" y="21"/>
                    </a:cubicBezTo>
                    <a:cubicBezTo>
                      <a:pt x="11" y="22"/>
                      <a:pt x="10" y="21"/>
                      <a:pt x="10" y="20"/>
                    </a:cubicBezTo>
                    <a:cubicBezTo>
                      <a:pt x="7" y="24"/>
                      <a:pt x="3" y="32"/>
                      <a:pt x="8" y="43"/>
                    </a:cubicBezTo>
                    <a:cubicBezTo>
                      <a:pt x="5" y="40"/>
                      <a:pt x="5" y="40"/>
                      <a:pt x="5" y="40"/>
                    </a:cubicBezTo>
                    <a:cubicBezTo>
                      <a:pt x="6" y="44"/>
                      <a:pt x="6" y="47"/>
                      <a:pt x="7" y="49"/>
                    </a:cubicBezTo>
                    <a:cubicBezTo>
                      <a:pt x="9" y="57"/>
                      <a:pt x="12" y="62"/>
                      <a:pt x="20" y="60"/>
                    </a:cubicBezTo>
                    <a:cubicBezTo>
                      <a:pt x="27" y="58"/>
                      <a:pt x="24" y="48"/>
                      <a:pt x="23" y="46"/>
                    </a:cubicBezTo>
                    <a:cubicBezTo>
                      <a:pt x="22" y="44"/>
                      <a:pt x="21" y="37"/>
                      <a:pt x="21" y="37"/>
                    </a:cubicBezTo>
                    <a:close/>
                  </a:path>
                </a:pathLst>
              </a:custGeom>
              <a:solidFill>
                <a:srgbClr val="FFFFFF"/>
              </a:solidFill>
              <a:ln w="9525">
                <a:noFill/>
                <a:round/>
              </a:ln>
            </p:spPr>
            <p:txBody>
              <a:bodyPr anchor="ctr"/>
              <a:lstStyle/>
              <a:p>
                <a:pPr algn="ctr"/>
                <a:endParaRPr/>
              </a:p>
            </p:txBody>
          </p:sp>
        </p:grpSp>
        <p:sp>
          <p:nvSpPr>
            <p:cNvPr id="37" name="î$ľíḋe"/>
            <p:cNvSpPr/>
            <p:nvPr/>
          </p:nvSpPr>
          <p:spPr bwMode="auto">
            <a:xfrm>
              <a:off x="1639837" y="4898151"/>
              <a:ext cx="2327132" cy="915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dirty="0"/>
                <a:t>展示算法的整体细节，提供直观感受。</a:t>
              </a:r>
              <a:endParaRPr lang="en-US" altLang="zh-CN" dirty="0"/>
            </a:p>
          </p:txBody>
        </p:sp>
        <p:grpSp>
          <p:nvGrpSpPr>
            <p:cNvPr id="23" name="íṥ1iḓé"/>
            <p:cNvGrpSpPr>
              <a:grpSpLocks noChangeAspect="1"/>
            </p:cNvGrpSpPr>
            <p:nvPr/>
          </p:nvGrpSpPr>
          <p:grpSpPr>
            <a:xfrm>
              <a:off x="4474780" y="4898153"/>
              <a:ext cx="875199" cy="887945"/>
              <a:chOff x="1962160" y="3238498"/>
              <a:chExt cx="436035" cy="442385"/>
            </a:xfrm>
          </p:grpSpPr>
          <p:sp>
            <p:nvSpPr>
              <p:cNvPr id="34" name="íśḷíďé"/>
              <p:cNvSpPr/>
              <p:nvPr/>
            </p:nvSpPr>
            <p:spPr bwMode="auto">
              <a:xfrm>
                <a:off x="1962160" y="3238498"/>
                <a:ext cx="436035" cy="442385"/>
              </a:xfrm>
              <a:prstGeom prst="rect">
                <a:avLst/>
              </a:prstGeom>
              <a:solidFill>
                <a:schemeClr val="accent4"/>
              </a:solidFill>
              <a:ln w="9525">
                <a:noFill/>
                <a:miter lim="800000"/>
              </a:ln>
            </p:spPr>
            <p:txBody>
              <a:bodyPr anchor="ctr"/>
              <a:lstStyle/>
              <a:p>
                <a:pPr algn="ctr"/>
                <a:endParaRPr/>
              </a:p>
            </p:txBody>
          </p:sp>
          <p:sp>
            <p:nvSpPr>
              <p:cNvPr id="35" name="ïsḷîḓè"/>
              <p:cNvSpPr/>
              <p:nvPr/>
            </p:nvSpPr>
            <p:spPr bwMode="auto">
              <a:xfrm>
                <a:off x="2103977" y="3325282"/>
                <a:ext cx="294218" cy="355601"/>
              </a:xfrm>
              <a:custGeom>
                <a:avLst/>
                <a:gdLst/>
                <a:ahLst/>
                <a:cxnLst>
                  <a:cxn ang="0">
                    <a:pos x="139" y="53"/>
                  </a:cxn>
                  <a:cxn ang="0">
                    <a:pos x="87" y="0"/>
                  </a:cxn>
                  <a:cxn ang="0">
                    <a:pos x="87" y="32"/>
                  </a:cxn>
                  <a:cxn ang="0">
                    <a:pos x="80" y="51"/>
                  </a:cxn>
                  <a:cxn ang="0">
                    <a:pos x="87" y="70"/>
                  </a:cxn>
                  <a:cxn ang="0">
                    <a:pos x="85" y="93"/>
                  </a:cxn>
                  <a:cxn ang="0">
                    <a:pos x="68" y="117"/>
                  </a:cxn>
                  <a:cxn ang="0">
                    <a:pos x="29" y="128"/>
                  </a:cxn>
                  <a:cxn ang="0">
                    <a:pos x="0" y="117"/>
                  </a:cxn>
                  <a:cxn ang="0">
                    <a:pos x="50" y="168"/>
                  </a:cxn>
                  <a:cxn ang="0">
                    <a:pos x="139" y="168"/>
                  </a:cxn>
                  <a:cxn ang="0">
                    <a:pos x="139" y="53"/>
                  </a:cxn>
                </a:cxnLst>
                <a:rect l="0" t="0" r="r" b="b"/>
                <a:pathLst>
                  <a:path w="139" h="168">
                    <a:moveTo>
                      <a:pt x="139" y="53"/>
                    </a:moveTo>
                    <a:lnTo>
                      <a:pt x="87" y="0"/>
                    </a:lnTo>
                    <a:lnTo>
                      <a:pt x="87" y="32"/>
                    </a:lnTo>
                    <a:lnTo>
                      <a:pt x="80" y="51"/>
                    </a:lnTo>
                    <a:lnTo>
                      <a:pt x="87" y="70"/>
                    </a:lnTo>
                    <a:lnTo>
                      <a:pt x="85" y="93"/>
                    </a:lnTo>
                    <a:lnTo>
                      <a:pt x="68" y="117"/>
                    </a:lnTo>
                    <a:lnTo>
                      <a:pt x="29" y="128"/>
                    </a:lnTo>
                    <a:lnTo>
                      <a:pt x="0" y="117"/>
                    </a:lnTo>
                    <a:lnTo>
                      <a:pt x="50" y="168"/>
                    </a:lnTo>
                    <a:lnTo>
                      <a:pt x="139" y="168"/>
                    </a:lnTo>
                    <a:lnTo>
                      <a:pt x="139" y="53"/>
                    </a:lnTo>
                    <a:close/>
                  </a:path>
                </a:pathLst>
              </a:custGeom>
              <a:solidFill>
                <a:schemeClr val="accent4">
                  <a:lumMod val="75000"/>
                </a:schemeClr>
              </a:solidFill>
              <a:ln w="9525">
                <a:noFill/>
                <a:round/>
              </a:ln>
            </p:spPr>
            <p:txBody>
              <a:bodyPr anchor="ctr"/>
              <a:lstStyle/>
              <a:p>
                <a:pPr algn="ctr"/>
                <a:endParaRPr/>
              </a:p>
            </p:txBody>
          </p:sp>
          <p:sp>
            <p:nvSpPr>
              <p:cNvPr id="36" name="ï$1îdê"/>
              <p:cNvSpPr/>
              <p:nvPr/>
            </p:nvSpPr>
            <p:spPr bwMode="auto">
              <a:xfrm>
                <a:off x="2063760" y="3314698"/>
                <a:ext cx="239184" cy="285751"/>
              </a:xfrm>
              <a:custGeom>
                <a:avLst/>
                <a:gdLst/>
                <a:ahLst/>
                <a:cxnLst>
                  <a:cxn ang="0">
                    <a:pos x="36" y="12"/>
                  </a:cxn>
                  <a:cxn ang="0">
                    <a:pos x="49" y="19"/>
                  </a:cxn>
                  <a:cxn ang="0">
                    <a:pos x="53" y="34"/>
                  </a:cxn>
                  <a:cxn ang="0">
                    <a:pos x="55" y="39"/>
                  </a:cxn>
                  <a:cxn ang="0">
                    <a:pos x="53" y="40"/>
                  </a:cxn>
                  <a:cxn ang="0">
                    <a:pos x="51" y="37"/>
                  </a:cxn>
                  <a:cxn ang="0">
                    <a:pos x="52" y="39"/>
                  </a:cxn>
                  <a:cxn ang="0">
                    <a:pos x="52" y="40"/>
                  </a:cxn>
                  <a:cxn ang="0">
                    <a:pos x="52" y="39"/>
                  </a:cxn>
                  <a:cxn ang="0">
                    <a:pos x="49" y="38"/>
                  </a:cxn>
                  <a:cxn ang="0">
                    <a:pos x="47" y="40"/>
                  </a:cxn>
                  <a:cxn ang="0">
                    <a:pos x="53" y="42"/>
                  </a:cxn>
                  <a:cxn ang="0">
                    <a:pos x="51" y="56"/>
                  </a:cxn>
                  <a:cxn ang="0">
                    <a:pos x="48" y="49"/>
                  </a:cxn>
                  <a:cxn ang="0">
                    <a:pos x="46" y="40"/>
                  </a:cxn>
                  <a:cxn ang="0">
                    <a:pos x="47" y="36"/>
                  </a:cxn>
                  <a:cxn ang="0">
                    <a:pos x="39" y="29"/>
                  </a:cxn>
                  <a:cxn ang="0">
                    <a:pos x="33" y="28"/>
                  </a:cxn>
                  <a:cxn ang="0">
                    <a:pos x="30" y="23"/>
                  </a:cxn>
                  <a:cxn ang="0">
                    <a:pos x="34" y="14"/>
                  </a:cxn>
                  <a:cxn ang="0">
                    <a:pos x="58" y="43"/>
                  </a:cxn>
                  <a:cxn ang="0">
                    <a:pos x="37" y="56"/>
                  </a:cxn>
                  <a:cxn ang="0">
                    <a:pos x="33" y="60"/>
                  </a:cxn>
                  <a:cxn ang="0">
                    <a:pos x="30" y="64"/>
                  </a:cxn>
                  <a:cxn ang="0">
                    <a:pos x="30" y="67"/>
                  </a:cxn>
                  <a:cxn ang="0">
                    <a:pos x="27" y="53"/>
                  </a:cxn>
                  <a:cxn ang="0">
                    <a:pos x="25" y="48"/>
                  </a:cxn>
                  <a:cxn ang="0">
                    <a:pos x="19" y="45"/>
                  </a:cxn>
                  <a:cxn ang="0">
                    <a:pos x="14" y="36"/>
                  </a:cxn>
                  <a:cxn ang="0">
                    <a:pos x="12" y="28"/>
                  </a:cxn>
                  <a:cxn ang="0">
                    <a:pos x="22" y="22"/>
                  </a:cxn>
                  <a:cxn ang="0">
                    <a:pos x="27" y="26"/>
                  </a:cxn>
                  <a:cxn ang="0">
                    <a:pos x="30" y="30"/>
                  </a:cxn>
                  <a:cxn ang="0">
                    <a:pos x="26" y="29"/>
                  </a:cxn>
                  <a:cxn ang="0">
                    <a:pos x="23" y="32"/>
                  </a:cxn>
                  <a:cxn ang="0">
                    <a:pos x="27" y="34"/>
                  </a:cxn>
                  <a:cxn ang="0">
                    <a:pos x="30" y="33"/>
                  </a:cxn>
                  <a:cxn ang="0">
                    <a:pos x="33" y="36"/>
                  </a:cxn>
                  <a:cxn ang="0">
                    <a:pos x="31" y="38"/>
                  </a:cxn>
                  <a:cxn ang="0">
                    <a:pos x="26" y="41"/>
                  </a:cxn>
                  <a:cxn ang="0">
                    <a:pos x="22" y="42"/>
                  </a:cxn>
                  <a:cxn ang="0">
                    <a:pos x="24" y="46"/>
                  </a:cxn>
                  <a:cxn ang="0">
                    <a:pos x="27" y="48"/>
                  </a:cxn>
                  <a:cxn ang="0">
                    <a:pos x="32" y="48"/>
                  </a:cxn>
                  <a:cxn ang="0">
                    <a:pos x="37" y="51"/>
                  </a:cxn>
                  <a:cxn ang="0">
                    <a:pos x="29" y="45"/>
                  </a:cxn>
                  <a:cxn ang="0">
                    <a:pos x="26" y="45"/>
                  </a:cxn>
                  <a:cxn ang="0">
                    <a:pos x="27" y="45"/>
                  </a:cxn>
                  <a:cxn ang="0">
                    <a:pos x="30" y="45"/>
                  </a:cxn>
                </a:cxnLst>
                <a:rect l="0" t="0" r="r" b="b"/>
                <a:pathLst>
                  <a:path w="61" h="72">
                    <a:moveTo>
                      <a:pt x="49" y="36"/>
                    </a:moveTo>
                    <a:cubicBezTo>
                      <a:pt x="49" y="36"/>
                      <a:pt x="61" y="24"/>
                      <a:pt x="61" y="12"/>
                    </a:cubicBezTo>
                    <a:cubicBezTo>
                      <a:pt x="61" y="5"/>
                      <a:pt x="55" y="0"/>
                      <a:pt x="49" y="0"/>
                    </a:cubicBezTo>
                    <a:cubicBezTo>
                      <a:pt x="42" y="0"/>
                      <a:pt x="36" y="5"/>
                      <a:pt x="36" y="12"/>
                    </a:cubicBezTo>
                    <a:cubicBezTo>
                      <a:pt x="36" y="24"/>
                      <a:pt x="49" y="36"/>
                      <a:pt x="49" y="36"/>
                    </a:cubicBezTo>
                    <a:close/>
                    <a:moveTo>
                      <a:pt x="49" y="5"/>
                    </a:moveTo>
                    <a:cubicBezTo>
                      <a:pt x="52" y="5"/>
                      <a:pt x="55" y="8"/>
                      <a:pt x="55" y="12"/>
                    </a:cubicBezTo>
                    <a:cubicBezTo>
                      <a:pt x="55" y="16"/>
                      <a:pt x="52" y="19"/>
                      <a:pt x="49" y="19"/>
                    </a:cubicBezTo>
                    <a:cubicBezTo>
                      <a:pt x="45" y="19"/>
                      <a:pt x="42" y="16"/>
                      <a:pt x="42" y="12"/>
                    </a:cubicBezTo>
                    <a:cubicBezTo>
                      <a:pt x="42" y="8"/>
                      <a:pt x="45" y="5"/>
                      <a:pt x="49" y="5"/>
                    </a:cubicBezTo>
                    <a:close/>
                    <a:moveTo>
                      <a:pt x="53" y="34"/>
                    </a:moveTo>
                    <a:cubicBezTo>
                      <a:pt x="53" y="34"/>
                      <a:pt x="53" y="34"/>
                      <a:pt x="53" y="34"/>
                    </a:cubicBezTo>
                    <a:cubicBezTo>
                      <a:pt x="54" y="34"/>
                      <a:pt x="53" y="33"/>
                      <a:pt x="54" y="33"/>
                    </a:cubicBezTo>
                    <a:cubicBezTo>
                      <a:pt x="55" y="36"/>
                      <a:pt x="55" y="40"/>
                      <a:pt x="55" y="40"/>
                    </a:cubicBezTo>
                    <a:cubicBezTo>
                      <a:pt x="55" y="40"/>
                      <a:pt x="55" y="40"/>
                      <a:pt x="55" y="40"/>
                    </a:cubicBezTo>
                    <a:cubicBezTo>
                      <a:pt x="54" y="40"/>
                      <a:pt x="55" y="39"/>
                      <a:pt x="55" y="39"/>
                    </a:cubicBezTo>
                    <a:cubicBezTo>
                      <a:pt x="55" y="39"/>
                      <a:pt x="54" y="39"/>
                      <a:pt x="54" y="39"/>
                    </a:cubicBezTo>
                    <a:cubicBezTo>
                      <a:pt x="54" y="39"/>
                      <a:pt x="54" y="39"/>
                      <a:pt x="54" y="40"/>
                    </a:cubicBezTo>
                    <a:cubicBezTo>
                      <a:pt x="54" y="40"/>
                      <a:pt x="54" y="40"/>
                      <a:pt x="54" y="40"/>
                    </a:cubicBezTo>
                    <a:cubicBezTo>
                      <a:pt x="54" y="41"/>
                      <a:pt x="54" y="40"/>
                      <a:pt x="53" y="40"/>
                    </a:cubicBezTo>
                    <a:cubicBezTo>
                      <a:pt x="53" y="40"/>
                      <a:pt x="53" y="40"/>
                      <a:pt x="53" y="39"/>
                    </a:cubicBezTo>
                    <a:cubicBezTo>
                      <a:pt x="53" y="39"/>
                      <a:pt x="53" y="39"/>
                      <a:pt x="53" y="39"/>
                    </a:cubicBezTo>
                    <a:cubicBezTo>
                      <a:pt x="53" y="38"/>
                      <a:pt x="52" y="38"/>
                      <a:pt x="52" y="38"/>
                    </a:cubicBezTo>
                    <a:cubicBezTo>
                      <a:pt x="51" y="38"/>
                      <a:pt x="52" y="38"/>
                      <a:pt x="51" y="37"/>
                    </a:cubicBezTo>
                    <a:cubicBezTo>
                      <a:pt x="51" y="37"/>
                      <a:pt x="51" y="38"/>
                      <a:pt x="51" y="38"/>
                    </a:cubicBezTo>
                    <a:cubicBezTo>
                      <a:pt x="51" y="38"/>
                      <a:pt x="51" y="38"/>
                      <a:pt x="51" y="38"/>
                    </a:cubicBezTo>
                    <a:cubicBezTo>
                      <a:pt x="52" y="39"/>
                      <a:pt x="52" y="39"/>
                      <a:pt x="52" y="39"/>
                    </a:cubicBezTo>
                    <a:cubicBezTo>
                      <a:pt x="53" y="39"/>
                      <a:pt x="52" y="39"/>
                      <a:pt x="52" y="39"/>
                    </a:cubicBezTo>
                    <a:cubicBezTo>
                      <a:pt x="52" y="39"/>
                      <a:pt x="52" y="39"/>
                      <a:pt x="52" y="39"/>
                    </a:cubicBezTo>
                    <a:cubicBezTo>
                      <a:pt x="52" y="39"/>
                      <a:pt x="52" y="39"/>
                      <a:pt x="52" y="39"/>
                    </a:cubicBezTo>
                    <a:cubicBezTo>
                      <a:pt x="52" y="39"/>
                      <a:pt x="52" y="40"/>
                      <a:pt x="52" y="40"/>
                    </a:cubicBezTo>
                    <a:cubicBezTo>
                      <a:pt x="52" y="40"/>
                      <a:pt x="52" y="40"/>
                      <a:pt x="52" y="40"/>
                    </a:cubicBezTo>
                    <a:cubicBezTo>
                      <a:pt x="52" y="40"/>
                      <a:pt x="52" y="40"/>
                      <a:pt x="51" y="40"/>
                    </a:cubicBezTo>
                    <a:cubicBezTo>
                      <a:pt x="51" y="40"/>
                      <a:pt x="51" y="40"/>
                      <a:pt x="51" y="40"/>
                    </a:cubicBezTo>
                    <a:cubicBezTo>
                      <a:pt x="52" y="40"/>
                      <a:pt x="52" y="40"/>
                      <a:pt x="52" y="40"/>
                    </a:cubicBezTo>
                    <a:cubicBezTo>
                      <a:pt x="52" y="40"/>
                      <a:pt x="52" y="39"/>
                      <a:pt x="52" y="39"/>
                    </a:cubicBezTo>
                    <a:cubicBezTo>
                      <a:pt x="52" y="39"/>
                      <a:pt x="52" y="39"/>
                      <a:pt x="51" y="39"/>
                    </a:cubicBezTo>
                    <a:cubicBezTo>
                      <a:pt x="51" y="39"/>
                      <a:pt x="51" y="39"/>
                      <a:pt x="51" y="38"/>
                    </a:cubicBezTo>
                    <a:cubicBezTo>
                      <a:pt x="50" y="38"/>
                      <a:pt x="50" y="38"/>
                      <a:pt x="49" y="38"/>
                    </a:cubicBezTo>
                    <a:cubicBezTo>
                      <a:pt x="49" y="38"/>
                      <a:pt x="49" y="38"/>
                      <a:pt x="49" y="38"/>
                    </a:cubicBezTo>
                    <a:cubicBezTo>
                      <a:pt x="49" y="38"/>
                      <a:pt x="49" y="38"/>
                      <a:pt x="49" y="38"/>
                    </a:cubicBezTo>
                    <a:cubicBezTo>
                      <a:pt x="49" y="38"/>
                      <a:pt x="49" y="38"/>
                      <a:pt x="48" y="39"/>
                    </a:cubicBezTo>
                    <a:cubicBezTo>
                      <a:pt x="48" y="39"/>
                      <a:pt x="48" y="39"/>
                      <a:pt x="48" y="39"/>
                    </a:cubicBezTo>
                    <a:cubicBezTo>
                      <a:pt x="47" y="39"/>
                      <a:pt x="47" y="40"/>
                      <a:pt x="47" y="40"/>
                    </a:cubicBezTo>
                    <a:cubicBezTo>
                      <a:pt x="46" y="40"/>
                      <a:pt x="47" y="40"/>
                      <a:pt x="48" y="40"/>
                    </a:cubicBezTo>
                    <a:cubicBezTo>
                      <a:pt x="49" y="40"/>
                      <a:pt x="50" y="40"/>
                      <a:pt x="50" y="40"/>
                    </a:cubicBezTo>
                    <a:cubicBezTo>
                      <a:pt x="51" y="40"/>
                      <a:pt x="51" y="41"/>
                      <a:pt x="51" y="41"/>
                    </a:cubicBezTo>
                    <a:cubicBezTo>
                      <a:pt x="51" y="42"/>
                      <a:pt x="52" y="42"/>
                      <a:pt x="53" y="42"/>
                    </a:cubicBezTo>
                    <a:cubicBezTo>
                      <a:pt x="53" y="42"/>
                      <a:pt x="53" y="41"/>
                      <a:pt x="54" y="41"/>
                    </a:cubicBezTo>
                    <a:cubicBezTo>
                      <a:pt x="54" y="41"/>
                      <a:pt x="54" y="42"/>
                      <a:pt x="55" y="42"/>
                    </a:cubicBezTo>
                    <a:cubicBezTo>
                      <a:pt x="56" y="49"/>
                      <a:pt x="54" y="54"/>
                      <a:pt x="53" y="56"/>
                    </a:cubicBezTo>
                    <a:cubicBezTo>
                      <a:pt x="52" y="57"/>
                      <a:pt x="52" y="57"/>
                      <a:pt x="51" y="56"/>
                    </a:cubicBezTo>
                    <a:cubicBezTo>
                      <a:pt x="51" y="55"/>
                      <a:pt x="51" y="54"/>
                      <a:pt x="51" y="53"/>
                    </a:cubicBezTo>
                    <a:cubicBezTo>
                      <a:pt x="52" y="52"/>
                      <a:pt x="51" y="52"/>
                      <a:pt x="50" y="51"/>
                    </a:cubicBezTo>
                    <a:cubicBezTo>
                      <a:pt x="50" y="51"/>
                      <a:pt x="50" y="50"/>
                      <a:pt x="50" y="49"/>
                    </a:cubicBezTo>
                    <a:cubicBezTo>
                      <a:pt x="50" y="49"/>
                      <a:pt x="49" y="49"/>
                      <a:pt x="48" y="49"/>
                    </a:cubicBezTo>
                    <a:cubicBezTo>
                      <a:pt x="47" y="49"/>
                      <a:pt x="46" y="49"/>
                      <a:pt x="45" y="48"/>
                    </a:cubicBezTo>
                    <a:cubicBezTo>
                      <a:pt x="44" y="48"/>
                      <a:pt x="44" y="48"/>
                      <a:pt x="43" y="46"/>
                    </a:cubicBezTo>
                    <a:cubicBezTo>
                      <a:pt x="43" y="44"/>
                      <a:pt x="45" y="43"/>
                      <a:pt x="45" y="42"/>
                    </a:cubicBezTo>
                    <a:cubicBezTo>
                      <a:pt x="45" y="41"/>
                      <a:pt x="46" y="41"/>
                      <a:pt x="46" y="40"/>
                    </a:cubicBezTo>
                    <a:cubicBezTo>
                      <a:pt x="46" y="40"/>
                      <a:pt x="45" y="40"/>
                      <a:pt x="45" y="39"/>
                    </a:cubicBezTo>
                    <a:cubicBezTo>
                      <a:pt x="45" y="39"/>
                      <a:pt x="46" y="38"/>
                      <a:pt x="46" y="38"/>
                    </a:cubicBezTo>
                    <a:cubicBezTo>
                      <a:pt x="47" y="38"/>
                      <a:pt x="47" y="37"/>
                      <a:pt x="47" y="37"/>
                    </a:cubicBezTo>
                    <a:cubicBezTo>
                      <a:pt x="47" y="37"/>
                      <a:pt x="47" y="37"/>
                      <a:pt x="47" y="36"/>
                    </a:cubicBezTo>
                    <a:cubicBezTo>
                      <a:pt x="46" y="36"/>
                      <a:pt x="46" y="36"/>
                      <a:pt x="45" y="35"/>
                    </a:cubicBezTo>
                    <a:cubicBezTo>
                      <a:pt x="45" y="35"/>
                      <a:pt x="45" y="35"/>
                      <a:pt x="45" y="35"/>
                    </a:cubicBezTo>
                    <a:cubicBezTo>
                      <a:pt x="44" y="33"/>
                      <a:pt x="42" y="31"/>
                      <a:pt x="40" y="29"/>
                    </a:cubicBezTo>
                    <a:cubicBezTo>
                      <a:pt x="40" y="29"/>
                      <a:pt x="39" y="29"/>
                      <a:pt x="39" y="29"/>
                    </a:cubicBezTo>
                    <a:cubicBezTo>
                      <a:pt x="38" y="29"/>
                      <a:pt x="38" y="30"/>
                      <a:pt x="37" y="30"/>
                    </a:cubicBezTo>
                    <a:cubicBezTo>
                      <a:pt x="37" y="30"/>
                      <a:pt x="36" y="31"/>
                      <a:pt x="36" y="32"/>
                    </a:cubicBezTo>
                    <a:cubicBezTo>
                      <a:pt x="36" y="33"/>
                      <a:pt x="34" y="31"/>
                      <a:pt x="34" y="30"/>
                    </a:cubicBezTo>
                    <a:cubicBezTo>
                      <a:pt x="33" y="30"/>
                      <a:pt x="34" y="29"/>
                      <a:pt x="33" y="28"/>
                    </a:cubicBezTo>
                    <a:cubicBezTo>
                      <a:pt x="33" y="27"/>
                      <a:pt x="33" y="28"/>
                      <a:pt x="33" y="26"/>
                    </a:cubicBezTo>
                    <a:cubicBezTo>
                      <a:pt x="33" y="25"/>
                      <a:pt x="32" y="25"/>
                      <a:pt x="31" y="25"/>
                    </a:cubicBezTo>
                    <a:cubicBezTo>
                      <a:pt x="29" y="25"/>
                      <a:pt x="29" y="24"/>
                      <a:pt x="28" y="24"/>
                    </a:cubicBezTo>
                    <a:cubicBezTo>
                      <a:pt x="27" y="23"/>
                      <a:pt x="29" y="23"/>
                      <a:pt x="30" y="23"/>
                    </a:cubicBezTo>
                    <a:cubicBezTo>
                      <a:pt x="31" y="23"/>
                      <a:pt x="30" y="22"/>
                      <a:pt x="31" y="22"/>
                    </a:cubicBezTo>
                    <a:cubicBezTo>
                      <a:pt x="31" y="22"/>
                      <a:pt x="32" y="21"/>
                      <a:pt x="33" y="21"/>
                    </a:cubicBezTo>
                    <a:cubicBezTo>
                      <a:pt x="34" y="21"/>
                      <a:pt x="35" y="21"/>
                      <a:pt x="36" y="21"/>
                    </a:cubicBezTo>
                    <a:cubicBezTo>
                      <a:pt x="35" y="18"/>
                      <a:pt x="34" y="16"/>
                      <a:pt x="34" y="14"/>
                    </a:cubicBezTo>
                    <a:cubicBezTo>
                      <a:pt x="32" y="14"/>
                      <a:pt x="31" y="14"/>
                      <a:pt x="29" y="14"/>
                    </a:cubicBezTo>
                    <a:cubicBezTo>
                      <a:pt x="13" y="14"/>
                      <a:pt x="0" y="27"/>
                      <a:pt x="0" y="43"/>
                    </a:cubicBezTo>
                    <a:cubicBezTo>
                      <a:pt x="0" y="59"/>
                      <a:pt x="13" y="72"/>
                      <a:pt x="29" y="72"/>
                    </a:cubicBezTo>
                    <a:cubicBezTo>
                      <a:pt x="45" y="72"/>
                      <a:pt x="58" y="59"/>
                      <a:pt x="58" y="43"/>
                    </a:cubicBezTo>
                    <a:cubicBezTo>
                      <a:pt x="58" y="39"/>
                      <a:pt x="57" y="34"/>
                      <a:pt x="56" y="30"/>
                    </a:cubicBezTo>
                    <a:cubicBezTo>
                      <a:pt x="55" y="32"/>
                      <a:pt x="53" y="33"/>
                      <a:pt x="53" y="34"/>
                    </a:cubicBezTo>
                    <a:close/>
                    <a:moveTo>
                      <a:pt x="37" y="54"/>
                    </a:moveTo>
                    <a:cubicBezTo>
                      <a:pt x="37" y="54"/>
                      <a:pt x="37" y="55"/>
                      <a:pt x="37" y="56"/>
                    </a:cubicBezTo>
                    <a:cubicBezTo>
                      <a:pt x="36" y="57"/>
                      <a:pt x="35" y="57"/>
                      <a:pt x="35" y="57"/>
                    </a:cubicBezTo>
                    <a:cubicBezTo>
                      <a:pt x="34" y="58"/>
                      <a:pt x="35" y="58"/>
                      <a:pt x="35" y="58"/>
                    </a:cubicBezTo>
                    <a:cubicBezTo>
                      <a:pt x="34" y="58"/>
                      <a:pt x="34" y="59"/>
                      <a:pt x="34" y="60"/>
                    </a:cubicBezTo>
                    <a:cubicBezTo>
                      <a:pt x="34" y="60"/>
                      <a:pt x="33" y="60"/>
                      <a:pt x="33" y="60"/>
                    </a:cubicBezTo>
                    <a:cubicBezTo>
                      <a:pt x="33" y="61"/>
                      <a:pt x="32" y="61"/>
                      <a:pt x="32" y="61"/>
                    </a:cubicBezTo>
                    <a:cubicBezTo>
                      <a:pt x="31" y="61"/>
                      <a:pt x="31" y="62"/>
                      <a:pt x="31" y="62"/>
                    </a:cubicBezTo>
                    <a:cubicBezTo>
                      <a:pt x="31" y="62"/>
                      <a:pt x="30" y="62"/>
                      <a:pt x="30" y="63"/>
                    </a:cubicBezTo>
                    <a:cubicBezTo>
                      <a:pt x="30" y="63"/>
                      <a:pt x="30" y="63"/>
                      <a:pt x="30" y="64"/>
                    </a:cubicBezTo>
                    <a:cubicBezTo>
                      <a:pt x="30" y="64"/>
                      <a:pt x="30" y="64"/>
                      <a:pt x="30" y="65"/>
                    </a:cubicBezTo>
                    <a:cubicBezTo>
                      <a:pt x="30" y="65"/>
                      <a:pt x="30" y="65"/>
                      <a:pt x="29" y="65"/>
                    </a:cubicBezTo>
                    <a:cubicBezTo>
                      <a:pt x="29" y="66"/>
                      <a:pt x="29" y="66"/>
                      <a:pt x="30" y="66"/>
                    </a:cubicBezTo>
                    <a:cubicBezTo>
                      <a:pt x="30" y="67"/>
                      <a:pt x="31" y="67"/>
                      <a:pt x="30" y="67"/>
                    </a:cubicBezTo>
                    <a:cubicBezTo>
                      <a:pt x="26" y="67"/>
                      <a:pt x="28" y="63"/>
                      <a:pt x="28" y="62"/>
                    </a:cubicBezTo>
                    <a:cubicBezTo>
                      <a:pt x="28" y="61"/>
                      <a:pt x="29" y="59"/>
                      <a:pt x="29" y="58"/>
                    </a:cubicBezTo>
                    <a:cubicBezTo>
                      <a:pt x="29" y="56"/>
                      <a:pt x="30" y="56"/>
                      <a:pt x="28" y="55"/>
                    </a:cubicBezTo>
                    <a:cubicBezTo>
                      <a:pt x="27" y="54"/>
                      <a:pt x="28" y="54"/>
                      <a:pt x="27" y="53"/>
                    </a:cubicBezTo>
                    <a:cubicBezTo>
                      <a:pt x="25" y="51"/>
                      <a:pt x="26" y="50"/>
                      <a:pt x="27" y="50"/>
                    </a:cubicBezTo>
                    <a:cubicBezTo>
                      <a:pt x="27" y="49"/>
                      <a:pt x="27" y="50"/>
                      <a:pt x="27" y="49"/>
                    </a:cubicBezTo>
                    <a:cubicBezTo>
                      <a:pt x="27" y="48"/>
                      <a:pt x="27" y="48"/>
                      <a:pt x="27" y="48"/>
                    </a:cubicBezTo>
                    <a:cubicBezTo>
                      <a:pt x="26" y="48"/>
                      <a:pt x="26" y="48"/>
                      <a:pt x="25" y="48"/>
                    </a:cubicBezTo>
                    <a:cubicBezTo>
                      <a:pt x="25" y="48"/>
                      <a:pt x="25" y="48"/>
                      <a:pt x="25" y="47"/>
                    </a:cubicBezTo>
                    <a:cubicBezTo>
                      <a:pt x="24" y="47"/>
                      <a:pt x="24" y="47"/>
                      <a:pt x="23" y="47"/>
                    </a:cubicBezTo>
                    <a:cubicBezTo>
                      <a:pt x="22" y="46"/>
                      <a:pt x="22" y="46"/>
                      <a:pt x="22" y="46"/>
                    </a:cubicBezTo>
                    <a:cubicBezTo>
                      <a:pt x="21" y="46"/>
                      <a:pt x="20" y="46"/>
                      <a:pt x="19" y="45"/>
                    </a:cubicBezTo>
                    <a:cubicBezTo>
                      <a:pt x="19" y="44"/>
                      <a:pt x="19" y="44"/>
                      <a:pt x="19" y="44"/>
                    </a:cubicBezTo>
                    <a:cubicBezTo>
                      <a:pt x="19" y="43"/>
                      <a:pt x="18" y="42"/>
                      <a:pt x="16" y="41"/>
                    </a:cubicBezTo>
                    <a:cubicBezTo>
                      <a:pt x="15" y="41"/>
                      <a:pt x="14" y="39"/>
                      <a:pt x="14" y="38"/>
                    </a:cubicBezTo>
                    <a:cubicBezTo>
                      <a:pt x="15" y="37"/>
                      <a:pt x="14" y="37"/>
                      <a:pt x="14" y="36"/>
                    </a:cubicBezTo>
                    <a:cubicBezTo>
                      <a:pt x="13" y="35"/>
                      <a:pt x="13" y="34"/>
                      <a:pt x="11" y="33"/>
                    </a:cubicBezTo>
                    <a:cubicBezTo>
                      <a:pt x="9" y="31"/>
                      <a:pt x="6" y="33"/>
                      <a:pt x="4" y="33"/>
                    </a:cubicBezTo>
                    <a:cubicBezTo>
                      <a:pt x="5" y="30"/>
                      <a:pt x="7" y="28"/>
                      <a:pt x="7" y="28"/>
                    </a:cubicBezTo>
                    <a:cubicBezTo>
                      <a:pt x="9" y="28"/>
                      <a:pt x="10" y="28"/>
                      <a:pt x="12" y="28"/>
                    </a:cubicBezTo>
                    <a:cubicBezTo>
                      <a:pt x="13" y="28"/>
                      <a:pt x="14" y="27"/>
                      <a:pt x="14" y="27"/>
                    </a:cubicBezTo>
                    <a:cubicBezTo>
                      <a:pt x="15" y="26"/>
                      <a:pt x="16" y="25"/>
                      <a:pt x="16" y="25"/>
                    </a:cubicBezTo>
                    <a:cubicBezTo>
                      <a:pt x="17" y="24"/>
                      <a:pt x="18" y="24"/>
                      <a:pt x="20" y="24"/>
                    </a:cubicBezTo>
                    <a:cubicBezTo>
                      <a:pt x="22" y="23"/>
                      <a:pt x="21" y="23"/>
                      <a:pt x="22" y="22"/>
                    </a:cubicBezTo>
                    <a:cubicBezTo>
                      <a:pt x="24" y="21"/>
                      <a:pt x="27" y="21"/>
                      <a:pt x="30" y="21"/>
                    </a:cubicBezTo>
                    <a:cubicBezTo>
                      <a:pt x="32" y="21"/>
                      <a:pt x="29" y="22"/>
                      <a:pt x="28" y="23"/>
                    </a:cubicBezTo>
                    <a:cubicBezTo>
                      <a:pt x="28" y="23"/>
                      <a:pt x="27" y="24"/>
                      <a:pt x="27" y="24"/>
                    </a:cubicBezTo>
                    <a:cubicBezTo>
                      <a:pt x="26" y="25"/>
                      <a:pt x="26" y="25"/>
                      <a:pt x="27" y="26"/>
                    </a:cubicBezTo>
                    <a:cubicBezTo>
                      <a:pt x="27" y="26"/>
                      <a:pt x="29" y="27"/>
                      <a:pt x="29" y="28"/>
                    </a:cubicBezTo>
                    <a:cubicBezTo>
                      <a:pt x="30" y="28"/>
                      <a:pt x="29" y="28"/>
                      <a:pt x="30" y="29"/>
                    </a:cubicBezTo>
                    <a:cubicBezTo>
                      <a:pt x="31" y="29"/>
                      <a:pt x="31" y="30"/>
                      <a:pt x="30" y="30"/>
                    </a:cubicBezTo>
                    <a:cubicBezTo>
                      <a:pt x="29" y="29"/>
                      <a:pt x="30" y="30"/>
                      <a:pt x="30" y="30"/>
                    </a:cubicBezTo>
                    <a:cubicBezTo>
                      <a:pt x="30" y="31"/>
                      <a:pt x="31" y="31"/>
                      <a:pt x="30" y="31"/>
                    </a:cubicBezTo>
                    <a:cubicBezTo>
                      <a:pt x="29" y="31"/>
                      <a:pt x="29" y="31"/>
                      <a:pt x="28" y="30"/>
                    </a:cubicBezTo>
                    <a:cubicBezTo>
                      <a:pt x="27" y="30"/>
                      <a:pt x="27" y="30"/>
                      <a:pt x="28" y="29"/>
                    </a:cubicBezTo>
                    <a:cubicBezTo>
                      <a:pt x="29" y="28"/>
                      <a:pt x="27" y="29"/>
                      <a:pt x="26" y="29"/>
                    </a:cubicBezTo>
                    <a:cubicBezTo>
                      <a:pt x="25" y="28"/>
                      <a:pt x="26" y="29"/>
                      <a:pt x="26" y="30"/>
                    </a:cubicBezTo>
                    <a:cubicBezTo>
                      <a:pt x="26" y="31"/>
                      <a:pt x="26" y="31"/>
                      <a:pt x="25" y="31"/>
                    </a:cubicBezTo>
                    <a:cubicBezTo>
                      <a:pt x="24" y="31"/>
                      <a:pt x="24" y="31"/>
                      <a:pt x="24" y="31"/>
                    </a:cubicBezTo>
                    <a:cubicBezTo>
                      <a:pt x="23" y="30"/>
                      <a:pt x="23" y="31"/>
                      <a:pt x="23" y="32"/>
                    </a:cubicBezTo>
                    <a:cubicBezTo>
                      <a:pt x="22" y="32"/>
                      <a:pt x="23" y="33"/>
                      <a:pt x="23" y="33"/>
                    </a:cubicBezTo>
                    <a:cubicBezTo>
                      <a:pt x="24" y="33"/>
                      <a:pt x="24" y="34"/>
                      <a:pt x="25" y="34"/>
                    </a:cubicBezTo>
                    <a:cubicBezTo>
                      <a:pt x="26" y="34"/>
                      <a:pt x="25" y="34"/>
                      <a:pt x="26" y="35"/>
                    </a:cubicBezTo>
                    <a:cubicBezTo>
                      <a:pt x="27" y="36"/>
                      <a:pt x="26" y="35"/>
                      <a:pt x="27" y="34"/>
                    </a:cubicBezTo>
                    <a:cubicBezTo>
                      <a:pt x="27" y="34"/>
                      <a:pt x="27" y="34"/>
                      <a:pt x="27" y="33"/>
                    </a:cubicBezTo>
                    <a:cubicBezTo>
                      <a:pt x="27" y="32"/>
                      <a:pt x="27" y="32"/>
                      <a:pt x="27" y="31"/>
                    </a:cubicBezTo>
                    <a:cubicBezTo>
                      <a:pt x="28" y="31"/>
                      <a:pt x="28" y="31"/>
                      <a:pt x="29" y="32"/>
                    </a:cubicBezTo>
                    <a:cubicBezTo>
                      <a:pt x="29" y="32"/>
                      <a:pt x="29" y="33"/>
                      <a:pt x="30" y="33"/>
                    </a:cubicBezTo>
                    <a:cubicBezTo>
                      <a:pt x="30" y="33"/>
                      <a:pt x="30" y="32"/>
                      <a:pt x="31" y="33"/>
                    </a:cubicBezTo>
                    <a:cubicBezTo>
                      <a:pt x="31" y="33"/>
                      <a:pt x="31" y="33"/>
                      <a:pt x="32" y="34"/>
                    </a:cubicBezTo>
                    <a:cubicBezTo>
                      <a:pt x="32" y="34"/>
                      <a:pt x="32" y="34"/>
                      <a:pt x="32" y="35"/>
                    </a:cubicBezTo>
                    <a:cubicBezTo>
                      <a:pt x="33" y="35"/>
                      <a:pt x="33" y="36"/>
                      <a:pt x="33" y="36"/>
                    </a:cubicBezTo>
                    <a:cubicBezTo>
                      <a:pt x="34" y="37"/>
                      <a:pt x="33" y="37"/>
                      <a:pt x="32" y="37"/>
                    </a:cubicBezTo>
                    <a:cubicBezTo>
                      <a:pt x="31" y="37"/>
                      <a:pt x="32" y="36"/>
                      <a:pt x="32" y="36"/>
                    </a:cubicBezTo>
                    <a:cubicBezTo>
                      <a:pt x="31" y="35"/>
                      <a:pt x="31" y="36"/>
                      <a:pt x="30" y="37"/>
                    </a:cubicBezTo>
                    <a:cubicBezTo>
                      <a:pt x="30" y="37"/>
                      <a:pt x="31" y="37"/>
                      <a:pt x="31" y="38"/>
                    </a:cubicBezTo>
                    <a:cubicBezTo>
                      <a:pt x="30" y="38"/>
                      <a:pt x="30" y="38"/>
                      <a:pt x="29" y="38"/>
                    </a:cubicBezTo>
                    <a:cubicBezTo>
                      <a:pt x="28" y="38"/>
                      <a:pt x="29" y="39"/>
                      <a:pt x="28" y="39"/>
                    </a:cubicBezTo>
                    <a:cubicBezTo>
                      <a:pt x="28" y="39"/>
                      <a:pt x="28" y="40"/>
                      <a:pt x="27" y="40"/>
                    </a:cubicBezTo>
                    <a:cubicBezTo>
                      <a:pt x="27" y="41"/>
                      <a:pt x="27" y="41"/>
                      <a:pt x="26" y="41"/>
                    </a:cubicBezTo>
                    <a:cubicBezTo>
                      <a:pt x="26" y="42"/>
                      <a:pt x="26" y="43"/>
                      <a:pt x="26" y="43"/>
                    </a:cubicBezTo>
                    <a:cubicBezTo>
                      <a:pt x="26" y="44"/>
                      <a:pt x="26" y="44"/>
                      <a:pt x="26" y="43"/>
                    </a:cubicBezTo>
                    <a:cubicBezTo>
                      <a:pt x="25" y="43"/>
                      <a:pt x="25" y="43"/>
                      <a:pt x="25" y="42"/>
                    </a:cubicBezTo>
                    <a:cubicBezTo>
                      <a:pt x="24" y="42"/>
                      <a:pt x="23" y="42"/>
                      <a:pt x="22" y="42"/>
                    </a:cubicBezTo>
                    <a:cubicBezTo>
                      <a:pt x="21" y="43"/>
                      <a:pt x="21" y="44"/>
                      <a:pt x="22" y="45"/>
                    </a:cubicBezTo>
                    <a:cubicBezTo>
                      <a:pt x="22" y="46"/>
                      <a:pt x="23" y="46"/>
                      <a:pt x="23" y="45"/>
                    </a:cubicBezTo>
                    <a:cubicBezTo>
                      <a:pt x="24" y="45"/>
                      <a:pt x="24" y="45"/>
                      <a:pt x="24" y="45"/>
                    </a:cubicBezTo>
                    <a:cubicBezTo>
                      <a:pt x="25" y="45"/>
                      <a:pt x="24" y="45"/>
                      <a:pt x="24" y="46"/>
                    </a:cubicBezTo>
                    <a:cubicBezTo>
                      <a:pt x="24" y="46"/>
                      <a:pt x="24" y="46"/>
                      <a:pt x="25" y="46"/>
                    </a:cubicBezTo>
                    <a:cubicBezTo>
                      <a:pt x="26" y="46"/>
                      <a:pt x="25" y="47"/>
                      <a:pt x="25" y="47"/>
                    </a:cubicBezTo>
                    <a:cubicBezTo>
                      <a:pt x="25" y="48"/>
                      <a:pt x="25" y="48"/>
                      <a:pt x="26" y="48"/>
                    </a:cubicBezTo>
                    <a:cubicBezTo>
                      <a:pt x="26" y="48"/>
                      <a:pt x="26" y="48"/>
                      <a:pt x="27" y="48"/>
                    </a:cubicBezTo>
                    <a:cubicBezTo>
                      <a:pt x="27" y="48"/>
                      <a:pt x="27" y="48"/>
                      <a:pt x="28" y="47"/>
                    </a:cubicBezTo>
                    <a:cubicBezTo>
                      <a:pt x="28" y="47"/>
                      <a:pt x="28" y="47"/>
                      <a:pt x="29" y="47"/>
                    </a:cubicBezTo>
                    <a:cubicBezTo>
                      <a:pt x="30" y="48"/>
                      <a:pt x="30" y="48"/>
                      <a:pt x="30" y="48"/>
                    </a:cubicBezTo>
                    <a:cubicBezTo>
                      <a:pt x="31" y="48"/>
                      <a:pt x="31" y="48"/>
                      <a:pt x="32" y="48"/>
                    </a:cubicBezTo>
                    <a:cubicBezTo>
                      <a:pt x="32" y="49"/>
                      <a:pt x="32" y="49"/>
                      <a:pt x="33" y="49"/>
                    </a:cubicBezTo>
                    <a:cubicBezTo>
                      <a:pt x="34" y="49"/>
                      <a:pt x="34" y="50"/>
                      <a:pt x="34" y="50"/>
                    </a:cubicBezTo>
                    <a:cubicBezTo>
                      <a:pt x="34" y="50"/>
                      <a:pt x="35" y="51"/>
                      <a:pt x="35" y="51"/>
                    </a:cubicBezTo>
                    <a:cubicBezTo>
                      <a:pt x="36" y="51"/>
                      <a:pt x="36" y="51"/>
                      <a:pt x="37" y="51"/>
                    </a:cubicBezTo>
                    <a:cubicBezTo>
                      <a:pt x="37" y="51"/>
                      <a:pt x="38" y="52"/>
                      <a:pt x="38" y="52"/>
                    </a:cubicBezTo>
                    <a:cubicBezTo>
                      <a:pt x="39" y="53"/>
                      <a:pt x="37" y="54"/>
                      <a:pt x="37" y="54"/>
                    </a:cubicBezTo>
                    <a:close/>
                    <a:moveTo>
                      <a:pt x="30" y="46"/>
                    </a:moveTo>
                    <a:cubicBezTo>
                      <a:pt x="29" y="45"/>
                      <a:pt x="29" y="45"/>
                      <a:pt x="29" y="45"/>
                    </a:cubicBezTo>
                    <a:cubicBezTo>
                      <a:pt x="29" y="46"/>
                      <a:pt x="29" y="46"/>
                      <a:pt x="28" y="46"/>
                    </a:cubicBezTo>
                    <a:cubicBezTo>
                      <a:pt x="28" y="45"/>
                      <a:pt x="28" y="45"/>
                      <a:pt x="28" y="45"/>
                    </a:cubicBezTo>
                    <a:cubicBezTo>
                      <a:pt x="27" y="45"/>
                      <a:pt x="27" y="45"/>
                      <a:pt x="27" y="45"/>
                    </a:cubicBezTo>
                    <a:cubicBezTo>
                      <a:pt x="27" y="45"/>
                      <a:pt x="27" y="45"/>
                      <a:pt x="26" y="45"/>
                    </a:cubicBezTo>
                    <a:cubicBezTo>
                      <a:pt x="26" y="44"/>
                      <a:pt x="26" y="44"/>
                      <a:pt x="25" y="44"/>
                    </a:cubicBezTo>
                    <a:cubicBezTo>
                      <a:pt x="25" y="45"/>
                      <a:pt x="25" y="45"/>
                      <a:pt x="25" y="44"/>
                    </a:cubicBezTo>
                    <a:cubicBezTo>
                      <a:pt x="25" y="44"/>
                      <a:pt x="26" y="44"/>
                      <a:pt x="26" y="44"/>
                    </a:cubicBezTo>
                    <a:cubicBezTo>
                      <a:pt x="27" y="44"/>
                      <a:pt x="27" y="45"/>
                      <a:pt x="27" y="45"/>
                    </a:cubicBezTo>
                    <a:cubicBezTo>
                      <a:pt x="28" y="45"/>
                      <a:pt x="28" y="45"/>
                      <a:pt x="28" y="45"/>
                    </a:cubicBezTo>
                    <a:cubicBezTo>
                      <a:pt x="28" y="45"/>
                      <a:pt x="29" y="45"/>
                      <a:pt x="29" y="45"/>
                    </a:cubicBezTo>
                    <a:cubicBezTo>
                      <a:pt x="29" y="45"/>
                      <a:pt x="29" y="45"/>
                      <a:pt x="29" y="45"/>
                    </a:cubicBezTo>
                    <a:cubicBezTo>
                      <a:pt x="29" y="45"/>
                      <a:pt x="30" y="45"/>
                      <a:pt x="30" y="45"/>
                    </a:cubicBezTo>
                    <a:cubicBezTo>
                      <a:pt x="30" y="45"/>
                      <a:pt x="30" y="46"/>
                      <a:pt x="30" y="46"/>
                    </a:cubicBezTo>
                    <a:close/>
                  </a:path>
                </a:pathLst>
              </a:custGeom>
              <a:solidFill>
                <a:srgbClr val="FFFFFF"/>
              </a:solidFill>
              <a:ln w="9525">
                <a:noFill/>
                <a:round/>
              </a:ln>
            </p:spPr>
            <p:txBody>
              <a:bodyPr anchor="ctr"/>
              <a:lstStyle/>
              <a:p>
                <a:pPr algn="ctr"/>
                <a:endParaRPr/>
              </a:p>
            </p:txBody>
          </p:sp>
        </p:grpSp>
        <p:sp>
          <p:nvSpPr>
            <p:cNvPr id="32" name="išliḓè"/>
            <p:cNvSpPr/>
            <p:nvPr/>
          </p:nvSpPr>
          <p:spPr bwMode="auto">
            <a:xfrm>
              <a:off x="5381589" y="4898151"/>
              <a:ext cx="2327132" cy="915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dirty="0"/>
                <a:t>帮助建立对证据理论的大致知识框架。</a:t>
              </a:r>
              <a:endParaRPr lang="en-US" altLang="zh-CN" dirty="0"/>
            </a:p>
          </p:txBody>
        </p:sp>
        <p:grpSp>
          <p:nvGrpSpPr>
            <p:cNvPr id="25" name="íşḷîḓè"/>
            <p:cNvGrpSpPr>
              <a:grpSpLocks noChangeAspect="1"/>
            </p:cNvGrpSpPr>
            <p:nvPr/>
          </p:nvGrpSpPr>
          <p:grpSpPr>
            <a:xfrm>
              <a:off x="8216531" y="4898152"/>
              <a:ext cx="875202" cy="887945"/>
              <a:chOff x="4234" y="3238498"/>
              <a:chExt cx="436036" cy="442385"/>
            </a:xfrm>
          </p:grpSpPr>
          <p:sp>
            <p:nvSpPr>
              <p:cNvPr id="29" name="ïṡľîḓê"/>
              <p:cNvSpPr/>
              <p:nvPr/>
            </p:nvSpPr>
            <p:spPr bwMode="auto">
              <a:xfrm>
                <a:off x="4234" y="3238498"/>
                <a:ext cx="436035" cy="442385"/>
              </a:xfrm>
              <a:prstGeom prst="rect">
                <a:avLst/>
              </a:prstGeom>
              <a:solidFill>
                <a:schemeClr val="accent3"/>
              </a:solidFill>
              <a:ln w="9525">
                <a:noFill/>
                <a:miter lim="800000"/>
              </a:ln>
            </p:spPr>
            <p:txBody>
              <a:bodyPr anchor="ctr"/>
              <a:lstStyle/>
              <a:p>
                <a:pPr algn="ctr"/>
                <a:endParaRPr/>
              </a:p>
            </p:txBody>
          </p:sp>
          <p:sp>
            <p:nvSpPr>
              <p:cNvPr id="30" name="iṩḷïďê"/>
              <p:cNvSpPr/>
              <p:nvPr/>
            </p:nvSpPr>
            <p:spPr bwMode="auto">
              <a:xfrm>
                <a:off x="86785" y="3354915"/>
                <a:ext cx="353485" cy="325968"/>
              </a:xfrm>
              <a:custGeom>
                <a:avLst/>
                <a:gdLst/>
                <a:ahLst/>
                <a:cxnLst>
                  <a:cxn ang="0">
                    <a:pos x="167" y="77"/>
                  </a:cxn>
                  <a:cxn ang="0">
                    <a:pos x="123" y="32"/>
                  </a:cxn>
                  <a:cxn ang="0">
                    <a:pos x="123" y="33"/>
                  </a:cxn>
                  <a:cxn ang="0">
                    <a:pos x="97" y="7"/>
                  </a:cxn>
                  <a:cxn ang="0">
                    <a:pos x="80" y="0"/>
                  </a:cxn>
                  <a:cxn ang="0">
                    <a:pos x="50" y="7"/>
                  </a:cxn>
                  <a:cxn ang="0">
                    <a:pos x="22" y="11"/>
                  </a:cxn>
                  <a:cxn ang="0">
                    <a:pos x="9" y="18"/>
                  </a:cxn>
                  <a:cxn ang="0">
                    <a:pos x="0" y="33"/>
                  </a:cxn>
                  <a:cxn ang="0">
                    <a:pos x="61" y="96"/>
                  </a:cxn>
                  <a:cxn ang="0">
                    <a:pos x="28" y="109"/>
                  </a:cxn>
                  <a:cxn ang="0">
                    <a:pos x="20" y="118"/>
                  </a:cxn>
                  <a:cxn ang="0">
                    <a:pos x="56" y="154"/>
                  </a:cxn>
                  <a:cxn ang="0">
                    <a:pos x="167" y="154"/>
                  </a:cxn>
                  <a:cxn ang="0">
                    <a:pos x="167" y="77"/>
                  </a:cxn>
                </a:cxnLst>
                <a:rect l="0" t="0" r="r" b="b"/>
                <a:pathLst>
                  <a:path w="167" h="154">
                    <a:moveTo>
                      <a:pt x="167" y="77"/>
                    </a:moveTo>
                    <a:lnTo>
                      <a:pt x="123" y="32"/>
                    </a:lnTo>
                    <a:lnTo>
                      <a:pt x="123" y="33"/>
                    </a:lnTo>
                    <a:lnTo>
                      <a:pt x="97" y="7"/>
                    </a:lnTo>
                    <a:lnTo>
                      <a:pt x="80" y="0"/>
                    </a:lnTo>
                    <a:lnTo>
                      <a:pt x="50" y="7"/>
                    </a:lnTo>
                    <a:lnTo>
                      <a:pt x="22" y="11"/>
                    </a:lnTo>
                    <a:lnTo>
                      <a:pt x="9" y="18"/>
                    </a:lnTo>
                    <a:lnTo>
                      <a:pt x="0" y="33"/>
                    </a:lnTo>
                    <a:lnTo>
                      <a:pt x="61" y="96"/>
                    </a:lnTo>
                    <a:lnTo>
                      <a:pt x="28" y="109"/>
                    </a:lnTo>
                    <a:lnTo>
                      <a:pt x="20" y="118"/>
                    </a:lnTo>
                    <a:lnTo>
                      <a:pt x="56" y="154"/>
                    </a:lnTo>
                    <a:lnTo>
                      <a:pt x="167" y="154"/>
                    </a:lnTo>
                    <a:lnTo>
                      <a:pt x="167" y="77"/>
                    </a:lnTo>
                    <a:close/>
                  </a:path>
                </a:pathLst>
              </a:custGeom>
              <a:solidFill>
                <a:schemeClr val="accent3">
                  <a:lumMod val="75000"/>
                </a:schemeClr>
              </a:solidFill>
              <a:ln w="9525">
                <a:noFill/>
                <a:round/>
              </a:ln>
            </p:spPr>
            <p:txBody>
              <a:bodyPr anchor="ctr"/>
              <a:lstStyle/>
              <a:p>
                <a:pPr algn="ctr"/>
                <a:endParaRPr/>
              </a:p>
            </p:txBody>
          </p:sp>
          <p:sp>
            <p:nvSpPr>
              <p:cNvPr id="31" name="ïşlïďe"/>
              <p:cNvSpPr/>
              <p:nvPr/>
            </p:nvSpPr>
            <p:spPr bwMode="auto">
              <a:xfrm>
                <a:off x="86785" y="3314698"/>
                <a:ext cx="283635" cy="285751"/>
              </a:xfrm>
              <a:custGeom>
                <a:avLst/>
                <a:gdLst/>
                <a:ahLst/>
                <a:cxnLst>
                  <a:cxn ang="0">
                    <a:pos x="11" y="72"/>
                  </a:cxn>
                  <a:cxn ang="0">
                    <a:pos x="30" y="21"/>
                  </a:cxn>
                  <a:cxn ang="0">
                    <a:pos x="42" y="59"/>
                  </a:cxn>
                  <a:cxn ang="0">
                    <a:pos x="48" y="60"/>
                  </a:cxn>
                  <a:cxn ang="0">
                    <a:pos x="12" y="19"/>
                  </a:cxn>
                  <a:cxn ang="0">
                    <a:pos x="20" y="20"/>
                  </a:cxn>
                  <a:cxn ang="0">
                    <a:pos x="22" y="38"/>
                  </a:cxn>
                  <a:cxn ang="0">
                    <a:pos x="24" y="35"/>
                  </a:cxn>
                  <a:cxn ang="0">
                    <a:pos x="23" y="27"/>
                  </a:cxn>
                  <a:cxn ang="0">
                    <a:pos x="28" y="18"/>
                  </a:cxn>
                  <a:cxn ang="0">
                    <a:pos x="34" y="15"/>
                  </a:cxn>
                  <a:cxn ang="0">
                    <a:pos x="39" y="12"/>
                  </a:cxn>
                  <a:cxn ang="0">
                    <a:pos x="43" y="16"/>
                  </a:cxn>
                  <a:cxn ang="0">
                    <a:pos x="46" y="16"/>
                  </a:cxn>
                  <a:cxn ang="0">
                    <a:pos x="31" y="10"/>
                  </a:cxn>
                  <a:cxn ang="0">
                    <a:pos x="26" y="12"/>
                  </a:cxn>
                  <a:cxn ang="0">
                    <a:pos x="13" y="8"/>
                  </a:cxn>
                  <a:cxn ang="0">
                    <a:pos x="14" y="10"/>
                  </a:cxn>
                  <a:cxn ang="0">
                    <a:pos x="18" y="8"/>
                  </a:cxn>
                  <a:cxn ang="0">
                    <a:pos x="20" y="13"/>
                  </a:cxn>
                  <a:cxn ang="0">
                    <a:pos x="4" y="28"/>
                  </a:cxn>
                  <a:cxn ang="0">
                    <a:pos x="7" y="27"/>
                  </a:cxn>
                  <a:cxn ang="0">
                    <a:pos x="12" y="19"/>
                  </a:cxn>
                  <a:cxn ang="0">
                    <a:pos x="62" y="32"/>
                  </a:cxn>
                  <a:cxn ang="0">
                    <a:pos x="64" y="31"/>
                  </a:cxn>
                  <a:cxn ang="0">
                    <a:pos x="65" y="28"/>
                  </a:cxn>
                  <a:cxn ang="0">
                    <a:pos x="68" y="28"/>
                  </a:cxn>
                  <a:cxn ang="0">
                    <a:pos x="53" y="21"/>
                  </a:cxn>
                  <a:cxn ang="0">
                    <a:pos x="38" y="28"/>
                  </a:cxn>
                  <a:cxn ang="0">
                    <a:pos x="46" y="27"/>
                  </a:cxn>
                  <a:cxn ang="0">
                    <a:pos x="47" y="30"/>
                  </a:cxn>
                  <a:cxn ang="0">
                    <a:pos x="48" y="31"/>
                  </a:cxn>
                  <a:cxn ang="0">
                    <a:pos x="46" y="37"/>
                  </a:cxn>
                  <a:cxn ang="0">
                    <a:pos x="53" y="39"/>
                  </a:cxn>
                  <a:cxn ang="0">
                    <a:pos x="53" y="42"/>
                  </a:cxn>
                  <a:cxn ang="0">
                    <a:pos x="57" y="46"/>
                  </a:cxn>
                  <a:cxn ang="0">
                    <a:pos x="56" y="50"/>
                  </a:cxn>
                  <a:cxn ang="0">
                    <a:pos x="63" y="40"/>
                  </a:cxn>
                  <a:cxn ang="0">
                    <a:pos x="65" y="41"/>
                  </a:cxn>
                  <a:cxn ang="0">
                    <a:pos x="69" y="40"/>
                  </a:cxn>
                  <a:cxn ang="0">
                    <a:pos x="71" y="46"/>
                  </a:cxn>
                </a:cxnLst>
                <a:rect l="0" t="0" r="r" b="b"/>
                <a:pathLst>
                  <a:path w="72" h="72">
                    <a:moveTo>
                      <a:pt x="65" y="72"/>
                    </a:moveTo>
                    <a:cubicBezTo>
                      <a:pt x="11" y="72"/>
                      <a:pt x="11" y="72"/>
                      <a:pt x="11" y="72"/>
                    </a:cubicBezTo>
                    <a:cubicBezTo>
                      <a:pt x="11" y="72"/>
                      <a:pt x="16" y="63"/>
                      <a:pt x="30" y="60"/>
                    </a:cubicBezTo>
                    <a:cubicBezTo>
                      <a:pt x="37" y="45"/>
                      <a:pt x="30" y="21"/>
                      <a:pt x="30" y="21"/>
                    </a:cubicBezTo>
                    <a:cubicBezTo>
                      <a:pt x="40" y="38"/>
                      <a:pt x="39" y="54"/>
                      <a:pt x="38" y="59"/>
                    </a:cubicBezTo>
                    <a:cubicBezTo>
                      <a:pt x="40" y="59"/>
                      <a:pt x="41" y="59"/>
                      <a:pt x="42" y="59"/>
                    </a:cubicBezTo>
                    <a:cubicBezTo>
                      <a:pt x="42" y="54"/>
                      <a:pt x="43" y="44"/>
                      <a:pt x="53" y="36"/>
                    </a:cubicBezTo>
                    <a:cubicBezTo>
                      <a:pt x="53" y="36"/>
                      <a:pt x="46" y="45"/>
                      <a:pt x="48" y="60"/>
                    </a:cubicBezTo>
                    <a:cubicBezTo>
                      <a:pt x="61" y="63"/>
                      <a:pt x="65" y="72"/>
                      <a:pt x="65" y="72"/>
                    </a:cubicBezTo>
                    <a:close/>
                    <a:moveTo>
                      <a:pt x="12" y="19"/>
                    </a:moveTo>
                    <a:cubicBezTo>
                      <a:pt x="14" y="24"/>
                      <a:pt x="14" y="24"/>
                      <a:pt x="14" y="24"/>
                    </a:cubicBezTo>
                    <a:cubicBezTo>
                      <a:pt x="16" y="22"/>
                      <a:pt x="18" y="21"/>
                      <a:pt x="20" y="20"/>
                    </a:cubicBezTo>
                    <a:cubicBezTo>
                      <a:pt x="20" y="20"/>
                      <a:pt x="10" y="30"/>
                      <a:pt x="20" y="41"/>
                    </a:cubicBezTo>
                    <a:cubicBezTo>
                      <a:pt x="20" y="41"/>
                      <a:pt x="21" y="40"/>
                      <a:pt x="22" y="38"/>
                    </a:cubicBezTo>
                    <a:cubicBezTo>
                      <a:pt x="21" y="34"/>
                      <a:pt x="21" y="34"/>
                      <a:pt x="21" y="34"/>
                    </a:cubicBezTo>
                    <a:cubicBezTo>
                      <a:pt x="24" y="35"/>
                      <a:pt x="24" y="35"/>
                      <a:pt x="24" y="35"/>
                    </a:cubicBezTo>
                    <a:cubicBezTo>
                      <a:pt x="25" y="34"/>
                      <a:pt x="26" y="32"/>
                      <a:pt x="27" y="30"/>
                    </a:cubicBezTo>
                    <a:cubicBezTo>
                      <a:pt x="23" y="27"/>
                      <a:pt x="23" y="27"/>
                      <a:pt x="23" y="27"/>
                    </a:cubicBezTo>
                    <a:cubicBezTo>
                      <a:pt x="28" y="27"/>
                      <a:pt x="28" y="27"/>
                      <a:pt x="28" y="27"/>
                    </a:cubicBezTo>
                    <a:cubicBezTo>
                      <a:pt x="28" y="24"/>
                      <a:pt x="29" y="21"/>
                      <a:pt x="28" y="18"/>
                    </a:cubicBezTo>
                    <a:cubicBezTo>
                      <a:pt x="32" y="23"/>
                      <a:pt x="39" y="26"/>
                      <a:pt x="39" y="26"/>
                    </a:cubicBezTo>
                    <a:cubicBezTo>
                      <a:pt x="40" y="19"/>
                      <a:pt x="34" y="15"/>
                      <a:pt x="34" y="15"/>
                    </a:cubicBezTo>
                    <a:cubicBezTo>
                      <a:pt x="35" y="15"/>
                      <a:pt x="37" y="16"/>
                      <a:pt x="38" y="16"/>
                    </a:cubicBezTo>
                    <a:cubicBezTo>
                      <a:pt x="39" y="12"/>
                      <a:pt x="39" y="12"/>
                      <a:pt x="39" y="12"/>
                    </a:cubicBezTo>
                    <a:cubicBezTo>
                      <a:pt x="40" y="16"/>
                      <a:pt x="40" y="16"/>
                      <a:pt x="40" y="16"/>
                    </a:cubicBezTo>
                    <a:cubicBezTo>
                      <a:pt x="41" y="16"/>
                      <a:pt x="42" y="16"/>
                      <a:pt x="43" y="16"/>
                    </a:cubicBezTo>
                    <a:cubicBezTo>
                      <a:pt x="42" y="11"/>
                      <a:pt x="42" y="11"/>
                      <a:pt x="42" y="11"/>
                    </a:cubicBezTo>
                    <a:cubicBezTo>
                      <a:pt x="46" y="16"/>
                      <a:pt x="46" y="16"/>
                      <a:pt x="46" y="16"/>
                    </a:cubicBezTo>
                    <a:cubicBezTo>
                      <a:pt x="50" y="16"/>
                      <a:pt x="53" y="15"/>
                      <a:pt x="53" y="15"/>
                    </a:cubicBezTo>
                    <a:cubicBezTo>
                      <a:pt x="45" y="2"/>
                      <a:pt x="31" y="10"/>
                      <a:pt x="31" y="10"/>
                    </a:cubicBezTo>
                    <a:cubicBezTo>
                      <a:pt x="35" y="6"/>
                      <a:pt x="34" y="0"/>
                      <a:pt x="34" y="0"/>
                    </a:cubicBezTo>
                    <a:cubicBezTo>
                      <a:pt x="27" y="1"/>
                      <a:pt x="26" y="9"/>
                      <a:pt x="26" y="12"/>
                    </a:cubicBezTo>
                    <a:cubicBezTo>
                      <a:pt x="24" y="8"/>
                      <a:pt x="19" y="0"/>
                      <a:pt x="11" y="6"/>
                    </a:cubicBezTo>
                    <a:cubicBezTo>
                      <a:pt x="11" y="6"/>
                      <a:pt x="12" y="7"/>
                      <a:pt x="13" y="8"/>
                    </a:cubicBezTo>
                    <a:cubicBezTo>
                      <a:pt x="15" y="6"/>
                      <a:pt x="15" y="6"/>
                      <a:pt x="15" y="6"/>
                    </a:cubicBezTo>
                    <a:cubicBezTo>
                      <a:pt x="14" y="10"/>
                      <a:pt x="14" y="10"/>
                      <a:pt x="14" y="10"/>
                    </a:cubicBezTo>
                    <a:cubicBezTo>
                      <a:pt x="14" y="10"/>
                      <a:pt x="15" y="11"/>
                      <a:pt x="16" y="11"/>
                    </a:cubicBezTo>
                    <a:cubicBezTo>
                      <a:pt x="18" y="8"/>
                      <a:pt x="18" y="8"/>
                      <a:pt x="18" y="8"/>
                    </a:cubicBezTo>
                    <a:cubicBezTo>
                      <a:pt x="17" y="12"/>
                      <a:pt x="17" y="12"/>
                      <a:pt x="17" y="12"/>
                    </a:cubicBezTo>
                    <a:cubicBezTo>
                      <a:pt x="18" y="13"/>
                      <a:pt x="19" y="13"/>
                      <a:pt x="20" y="13"/>
                    </a:cubicBezTo>
                    <a:cubicBezTo>
                      <a:pt x="12" y="13"/>
                      <a:pt x="2" y="14"/>
                      <a:pt x="0" y="29"/>
                    </a:cubicBezTo>
                    <a:cubicBezTo>
                      <a:pt x="0" y="29"/>
                      <a:pt x="1" y="29"/>
                      <a:pt x="4" y="28"/>
                    </a:cubicBezTo>
                    <a:cubicBezTo>
                      <a:pt x="5" y="22"/>
                      <a:pt x="5" y="22"/>
                      <a:pt x="5" y="22"/>
                    </a:cubicBezTo>
                    <a:cubicBezTo>
                      <a:pt x="7" y="27"/>
                      <a:pt x="7" y="27"/>
                      <a:pt x="7" y="27"/>
                    </a:cubicBezTo>
                    <a:cubicBezTo>
                      <a:pt x="8" y="26"/>
                      <a:pt x="10" y="26"/>
                      <a:pt x="11" y="25"/>
                    </a:cubicBezTo>
                    <a:lnTo>
                      <a:pt x="12" y="19"/>
                    </a:lnTo>
                    <a:close/>
                    <a:moveTo>
                      <a:pt x="61" y="32"/>
                    </a:moveTo>
                    <a:cubicBezTo>
                      <a:pt x="61" y="32"/>
                      <a:pt x="62" y="32"/>
                      <a:pt x="62" y="32"/>
                    </a:cubicBezTo>
                    <a:cubicBezTo>
                      <a:pt x="62" y="29"/>
                      <a:pt x="62" y="29"/>
                      <a:pt x="62" y="29"/>
                    </a:cubicBezTo>
                    <a:cubicBezTo>
                      <a:pt x="64" y="31"/>
                      <a:pt x="64" y="31"/>
                      <a:pt x="64" y="31"/>
                    </a:cubicBezTo>
                    <a:cubicBezTo>
                      <a:pt x="64" y="31"/>
                      <a:pt x="65" y="31"/>
                      <a:pt x="65" y="30"/>
                    </a:cubicBezTo>
                    <a:cubicBezTo>
                      <a:pt x="65" y="28"/>
                      <a:pt x="65" y="28"/>
                      <a:pt x="65" y="28"/>
                    </a:cubicBezTo>
                    <a:cubicBezTo>
                      <a:pt x="66" y="30"/>
                      <a:pt x="66" y="30"/>
                      <a:pt x="66" y="30"/>
                    </a:cubicBezTo>
                    <a:cubicBezTo>
                      <a:pt x="67" y="29"/>
                      <a:pt x="68" y="28"/>
                      <a:pt x="68" y="28"/>
                    </a:cubicBezTo>
                    <a:cubicBezTo>
                      <a:pt x="63" y="23"/>
                      <a:pt x="59" y="28"/>
                      <a:pt x="57" y="30"/>
                    </a:cubicBezTo>
                    <a:cubicBezTo>
                      <a:pt x="57" y="28"/>
                      <a:pt x="58" y="23"/>
                      <a:pt x="53" y="21"/>
                    </a:cubicBezTo>
                    <a:cubicBezTo>
                      <a:pt x="53" y="21"/>
                      <a:pt x="52" y="25"/>
                      <a:pt x="54" y="28"/>
                    </a:cubicBezTo>
                    <a:cubicBezTo>
                      <a:pt x="54" y="28"/>
                      <a:pt x="46" y="21"/>
                      <a:pt x="38" y="28"/>
                    </a:cubicBezTo>
                    <a:cubicBezTo>
                      <a:pt x="38" y="28"/>
                      <a:pt x="40" y="29"/>
                      <a:pt x="43" y="30"/>
                    </a:cubicBezTo>
                    <a:cubicBezTo>
                      <a:pt x="46" y="27"/>
                      <a:pt x="46" y="27"/>
                      <a:pt x="46" y="27"/>
                    </a:cubicBezTo>
                    <a:cubicBezTo>
                      <a:pt x="45" y="30"/>
                      <a:pt x="45" y="30"/>
                      <a:pt x="45" y="30"/>
                    </a:cubicBezTo>
                    <a:cubicBezTo>
                      <a:pt x="46" y="30"/>
                      <a:pt x="46" y="30"/>
                      <a:pt x="47" y="30"/>
                    </a:cubicBezTo>
                    <a:cubicBezTo>
                      <a:pt x="48" y="28"/>
                      <a:pt x="48" y="28"/>
                      <a:pt x="48" y="28"/>
                    </a:cubicBezTo>
                    <a:cubicBezTo>
                      <a:pt x="48" y="31"/>
                      <a:pt x="48" y="31"/>
                      <a:pt x="48" y="31"/>
                    </a:cubicBezTo>
                    <a:cubicBezTo>
                      <a:pt x="49" y="31"/>
                      <a:pt x="50" y="31"/>
                      <a:pt x="51" y="31"/>
                    </a:cubicBezTo>
                    <a:cubicBezTo>
                      <a:pt x="51" y="31"/>
                      <a:pt x="47" y="32"/>
                      <a:pt x="46" y="37"/>
                    </a:cubicBezTo>
                    <a:cubicBezTo>
                      <a:pt x="46" y="37"/>
                      <a:pt x="51" y="37"/>
                      <a:pt x="55" y="34"/>
                    </a:cubicBezTo>
                    <a:cubicBezTo>
                      <a:pt x="54" y="35"/>
                      <a:pt x="53" y="37"/>
                      <a:pt x="53" y="39"/>
                    </a:cubicBezTo>
                    <a:cubicBezTo>
                      <a:pt x="56" y="40"/>
                      <a:pt x="56" y="40"/>
                      <a:pt x="56" y="40"/>
                    </a:cubicBezTo>
                    <a:cubicBezTo>
                      <a:pt x="53" y="42"/>
                      <a:pt x="53" y="42"/>
                      <a:pt x="53" y="42"/>
                    </a:cubicBezTo>
                    <a:cubicBezTo>
                      <a:pt x="54" y="43"/>
                      <a:pt x="54" y="44"/>
                      <a:pt x="54" y="45"/>
                    </a:cubicBezTo>
                    <a:cubicBezTo>
                      <a:pt x="57" y="46"/>
                      <a:pt x="57" y="46"/>
                      <a:pt x="57" y="46"/>
                    </a:cubicBezTo>
                    <a:cubicBezTo>
                      <a:pt x="55" y="48"/>
                      <a:pt x="55" y="48"/>
                      <a:pt x="55" y="48"/>
                    </a:cubicBezTo>
                    <a:cubicBezTo>
                      <a:pt x="55" y="49"/>
                      <a:pt x="56" y="50"/>
                      <a:pt x="56" y="50"/>
                    </a:cubicBezTo>
                    <a:cubicBezTo>
                      <a:pt x="64" y="45"/>
                      <a:pt x="60" y="36"/>
                      <a:pt x="60" y="36"/>
                    </a:cubicBezTo>
                    <a:cubicBezTo>
                      <a:pt x="60" y="37"/>
                      <a:pt x="62" y="38"/>
                      <a:pt x="63" y="40"/>
                    </a:cubicBezTo>
                    <a:cubicBezTo>
                      <a:pt x="65" y="37"/>
                      <a:pt x="65" y="37"/>
                      <a:pt x="65" y="37"/>
                    </a:cubicBezTo>
                    <a:cubicBezTo>
                      <a:pt x="65" y="41"/>
                      <a:pt x="65" y="41"/>
                      <a:pt x="65" y="41"/>
                    </a:cubicBezTo>
                    <a:cubicBezTo>
                      <a:pt x="65" y="42"/>
                      <a:pt x="66" y="42"/>
                      <a:pt x="67" y="43"/>
                    </a:cubicBezTo>
                    <a:cubicBezTo>
                      <a:pt x="69" y="40"/>
                      <a:pt x="69" y="40"/>
                      <a:pt x="69" y="40"/>
                    </a:cubicBezTo>
                    <a:cubicBezTo>
                      <a:pt x="69" y="44"/>
                      <a:pt x="69" y="44"/>
                      <a:pt x="69" y="44"/>
                    </a:cubicBezTo>
                    <a:cubicBezTo>
                      <a:pt x="70" y="45"/>
                      <a:pt x="71" y="46"/>
                      <a:pt x="71" y="46"/>
                    </a:cubicBezTo>
                    <a:cubicBezTo>
                      <a:pt x="72" y="36"/>
                      <a:pt x="66" y="33"/>
                      <a:pt x="61" y="32"/>
                    </a:cubicBezTo>
                    <a:close/>
                  </a:path>
                </a:pathLst>
              </a:custGeom>
              <a:solidFill>
                <a:srgbClr val="FFFFFF"/>
              </a:solidFill>
              <a:ln w="9525">
                <a:noFill/>
                <a:round/>
              </a:ln>
            </p:spPr>
            <p:txBody>
              <a:bodyPr anchor="ctr"/>
              <a:lstStyle/>
              <a:p>
                <a:pPr algn="ctr"/>
                <a:endParaRPr/>
              </a:p>
            </p:txBody>
          </p:sp>
        </p:grpSp>
        <p:sp>
          <p:nvSpPr>
            <p:cNvPr id="27" name="îsļíḋè"/>
            <p:cNvSpPr/>
            <p:nvPr/>
          </p:nvSpPr>
          <p:spPr bwMode="auto">
            <a:xfrm>
              <a:off x="9123344" y="4898151"/>
              <a:ext cx="2327132" cy="915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dirty="0"/>
                <a:t>提供一种可视化的可能方式。</a:t>
              </a:r>
              <a:endParaRPr lang="en-US" altLang="zh-CN" dirty="0"/>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组合 12"/>
          <p:cNvGrpSpPr/>
          <p:nvPr/>
        </p:nvGrpSpPr>
        <p:grpSpPr>
          <a:xfrm>
            <a:off x="515939" y="4524536"/>
            <a:ext cx="11196636" cy="1484527"/>
            <a:chOff x="515939" y="4524536"/>
            <a:chExt cx="11196636" cy="1484527"/>
          </a:xfrm>
        </p:grpSpPr>
        <p:sp>
          <p:nvSpPr>
            <p:cNvPr id="8" name="梯形 7"/>
            <p:cNvSpPr/>
            <p:nvPr/>
          </p:nvSpPr>
          <p:spPr>
            <a:xfrm>
              <a:off x="515939" y="4564726"/>
              <a:ext cx="11196636" cy="1444337"/>
            </a:xfrm>
            <a:prstGeom prst="trapezoid">
              <a:avLst>
                <a:gd name="adj" fmla="val 112554"/>
              </a:avLst>
            </a:prstGeom>
            <a:gradFill>
              <a:gsLst>
                <a:gs pos="42000">
                  <a:schemeClr val="accent1">
                    <a:alpha val="0"/>
                  </a:schemeClr>
                </a:gs>
                <a:gs pos="100000">
                  <a:schemeClr val="accent1">
                    <a:alpha val="20000"/>
                  </a:schemeClr>
                </a:gs>
              </a:gsLst>
              <a:lin ang="5400000" scaled="1"/>
            </a:gradFill>
            <a:ln>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sp>
          <p:nvSpPr>
            <p:cNvPr id="23" name="梯形 22"/>
            <p:cNvSpPr/>
            <p:nvPr/>
          </p:nvSpPr>
          <p:spPr>
            <a:xfrm>
              <a:off x="1001831" y="4524536"/>
              <a:ext cx="10224852" cy="1318978"/>
            </a:xfrm>
            <a:prstGeom prst="trapezoid">
              <a:avLst>
                <a:gd name="adj" fmla="val 112554"/>
              </a:avLst>
            </a:prstGeom>
            <a:gradFill>
              <a:gsLst>
                <a:gs pos="42000">
                  <a:schemeClr val="accent1">
                    <a:alpha val="0"/>
                  </a:schemeClr>
                </a:gs>
                <a:gs pos="100000">
                  <a:schemeClr val="accent1">
                    <a:alpha val="20000"/>
                  </a:schemeClr>
                </a:gs>
              </a:gsLst>
              <a:lin ang="5400000" scaled="1"/>
            </a:gradFill>
            <a:ln>
              <a:gradFill>
                <a:gsLst>
                  <a:gs pos="31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cs typeface="+mn-ea"/>
                <a:sym typeface="+mn-lt"/>
              </a:endParaRPr>
            </a:p>
          </p:txBody>
        </p:sp>
      </p:grpSp>
      <p:sp>
        <p:nvSpPr>
          <p:cNvPr id="2" name="标题 1"/>
          <p:cNvSpPr>
            <a:spLocks noGrp="1"/>
          </p:cNvSpPr>
          <p:nvPr>
            <p:ph type="title"/>
          </p:nvPr>
        </p:nvSpPr>
        <p:spPr/>
        <p:txBody>
          <a:bodyPr/>
          <a:lstStyle/>
          <a:p>
            <a:r>
              <a:rPr lang="zh-CN" altLang="en-US" dirty="0"/>
              <a:t>研究目标</a:t>
            </a:r>
            <a:endParaRPr lang="en-US" b="0"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6</a:t>
            </a:fld>
            <a:endParaRPr lang="en-US" dirty="0">
              <a:solidFill>
                <a:srgbClr val="000000">
                  <a:tint val="75000"/>
                </a:srgbClr>
              </a:solidFill>
              <a:cs typeface="+mn-ea"/>
              <a:sym typeface="+mn-lt"/>
            </a:endParaRPr>
          </a:p>
        </p:txBody>
      </p:sp>
      <p:grpSp>
        <p:nvGrpSpPr>
          <p:cNvPr id="4" name="组合 3"/>
          <p:cNvGrpSpPr/>
          <p:nvPr/>
        </p:nvGrpSpPr>
        <p:grpSpPr>
          <a:xfrm>
            <a:off x="1584802" y="1539702"/>
            <a:ext cx="2874645" cy="3503930"/>
            <a:chOff x="1584802" y="1539702"/>
            <a:chExt cx="2874645" cy="3503930"/>
          </a:xfrm>
        </p:grpSpPr>
        <p:sp>
          <p:nvSpPr>
            <p:cNvPr id="6" name="isḷíḑe"/>
            <p:cNvSpPr/>
            <p:nvPr/>
          </p:nvSpPr>
          <p:spPr>
            <a:xfrm>
              <a:off x="1584802" y="2168987"/>
              <a:ext cx="2874645" cy="2874645"/>
            </a:xfrm>
            <a:prstGeom prst="wedgeRectCallout">
              <a:avLst/>
            </a:prstGeom>
            <a:noFill/>
            <a:ln w="25400" cmpd="sng">
              <a:solidFill>
                <a:schemeClr val="bg1">
                  <a:lumMod val="65000"/>
                </a:schemeClr>
              </a:solidFill>
              <a:prstDash val="sysDash"/>
            </a:ln>
          </p:spPr>
          <p:txBody>
            <a:bodyPr anchor="ctr"/>
            <a:lstStyle/>
            <a:p>
              <a:pPr algn="ctr"/>
              <a:endParaRPr lang="zh-CN" altLang="en-US">
                <a:cs typeface="+mn-ea"/>
                <a:sym typeface="+mn-lt"/>
              </a:endParaRPr>
            </a:p>
          </p:txBody>
        </p:sp>
        <p:sp>
          <p:nvSpPr>
            <p:cNvPr id="12" name="ïs1íďé"/>
            <p:cNvSpPr/>
            <p:nvPr/>
          </p:nvSpPr>
          <p:spPr bwMode="auto">
            <a:xfrm>
              <a:off x="1792446" y="2847090"/>
              <a:ext cx="2644776" cy="159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nSpc>
                  <a:spcPct val="120000"/>
                </a:lnSpc>
                <a:spcBef>
                  <a:spcPct val="0"/>
                </a:spcBef>
              </a:pPr>
              <a:r>
                <a:rPr lang="zh-CN" altLang="zh-CN" b="1" dirty="0"/>
                <a:t>能够实现一个易于理解、可用于简单机器学习任务的基于证据学习的决策树模型</a:t>
              </a:r>
              <a:endParaRPr lang="en-US" altLang="zh-CN" b="1" dirty="0">
                <a:sym typeface="+mn-lt"/>
              </a:endParaRPr>
            </a:p>
          </p:txBody>
        </p:sp>
        <p:grpSp>
          <p:nvGrpSpPr>
            <p:cNvPr id="24" name="组合 23"/>
            <p:cNvGrpSpPr/>
            <p:nvPr/>
          </p:nvGrpSpPr>
          <p:grpSpPr>
            <a:xfrm>
              <a:off x="2526507" y="1539702"/>
              <a:ext cx="991235" cy="991235"/>
              <a:chOff x="2482850" y="1654002"/>
              <a:chExt cx="991235" cy="991235"/>
            </a:xfrm>
          </p:grpSpPr>
          <p:sp>
            <p:nvSpPr>
              <p:cNvPr id="25" name="ïślîḍé"/>
              <p:cNvSpPr/>
              <p:nvPr/>
            </p:nvSpPr>
            <p:spPr>
              <a:xfrm>
                <a:off x="2482850" y="1654002"/>
                <a:ext cx="991235" cy="991235"/>
              </a:xfrm>
              <a:prstGeom prst="ellipse">
                <a:avLst/>
              </a:prstGeom>
              <a:solidFill>
                <a:schemeClr val="bg1"/>
              </a:solidFill>
              <a:ln w="38100" cap="flat">
                <a:solidFill>
                  <a:schemeClr val="bg1">
                    <a:lumMod val="50000"/>
                  </a:schemeClr>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27" name="ï$ļîḓê"/>
              <p:cNvSpPr/>
              <p:nvPr/>
            </p:nvSpPr>
            <p:spPr bwMode="auto">
              <a:xfrm>
                <a:off x="2644923" y="1908927"/>
                <a:ext cx="667090" cy="48138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bg1">
                  <a:lumMod val="50000"/>
                </a:schemeClr>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grpSp>
      <p:grpSp>
        <p:nvGrpSpPr>
          <p:cNvPr id="9" name="组合 8"/>
          <p:cNvGrpSpPr/>
          <p:nvPr/>
        </p:nvGrpSpPr>
        <p:grpSpPr>
          <a:xfrm>
            <a:off x="4665822" y="1540337"/>
            <a:ext cx="2874645" cy="3503295"/>
            <a:chOff x="4665822" y="1540337"/>
            <a:chExt cx="2874645" cy="3503295"/>
          </a:xfrm>
        </p:grpSpPr>
        <p:sp>
          <p:nvSpPr>
            <p:cNvPr id="5" name="íṣľiḓè"/>
            <p:cNvSpPr/>
            <p:nvPr/>
          </p:nvSpPr>
          <p:spPr bwMode="auto">
            <a:xfrm>
              <a:off x="4665822" y="2168987"/>
              <a:ext cx="2874645" cy="2874645"/>
            </a:xfrm>
            <a:prstGeom prst="rect">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lvl="0" algn="ctr" defTabSz="913765"/>
              <a:endParaRPr lang="zh-CN" altLang="en-US" sz="2000" b="1">
                <a:solidFill>
                  <a:schemeClr val="bg1"/>
                </a:solidFill>
                <a:cs typeface="+mn-ea"/>
                <a:sym typeface="+mn-lt"/>
              </a:endParaRPr>
            </a:p>
          </p:txBody>
        </p:sp>
        <p:grpSp>
          <p:nvGrpSpPr>
            <p:cNvPr id="31" name="组合 30"/>
            <p:cNvGrpSpPr/>
            <p:nvPr/>
          </p:nvGrpSpPr>
          <p:grpSpPr>
            <a:xfrm>
              <a:off x="5607527" y="1540337"/>
              <a:ext cx="991235" cy="991235"/>
              <a:chOff x="6444178" y="1503679"/>
              <a:chExt cx="345682" cy="345681"/>
            </a:xfrm>
          </p:grpSpPr>
          <p:sp>
            <p:nvSpPr>
              <p:cNvPr id="32" name="ïślîḍé"/>
              <p:cNvSpPr/>
              <p:nvPr/>
            </p:nvSpPr>
            <p:spPr>
              <a:xfrm>
                <a:off x="6444178" y="1503679"/>
                <a:ext cx="345682" cy="345681"/>
              </a:xfrm>
              <a:prstGeom prst="ellipse">
                <a:avLst/>
              </a:prstGeom>
              <a:solidFill>
                <a:schemeClr val="accent1"/>
              </a:solidFill>
              <a:ln w="38100" cap="flat">
                <a:solidFill>
                  <a:schemeClr val="bg1"/>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33"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bg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sp>
          <p:nvSpPr>
            <p:cNvPr id="37" name="ïs1íďé"/>
            <p:cNvSpPr/>
            <p:nvPr/>
          </p:nvSpPr>
          <p:spPr bwMode="auto">
            <a:xfrm>
              <a:off x="4791869" y="2847089"/>
              <a:ext cx="2644776" cy="159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pPr>
              <a:r>
                <a:rPr lang="zh-CN" altLang="en-US" b="1" dirty="0">
                  <a:solidFill>
                    <a:schemeClr val="bg1"/>
                  </a:solidFill>
                </a:rPr>
                <a:t>可视化框架的选择</a:t>
              </a:r>
            </a:p>
          </p:txBody>
        </p:sp>
      </p:grpSp>
      <p:grpSp>
        <p:nvGrpSpPr>
          <p:cNvPr id="10" name="组合 9"/>
          <p:cNvGrpSpPr/>
          <p:nvPr/>
        </p:nvGrpSpPr>
        <p:grpSpPr>
          <a:xfrm>
            <a:off x="7769067" y="1540337"/>
            <a:ext cx="2874645" cy="3503295"/>
            <a:chOff x="7769067" y="1540337"/>
            <a:chExt cx="2874645" cy="3503295"/>
          </a:xfrm>
        </p:grpSpPr>
        <p:sp>
          <p:nvSpPr>
            <p:cNvPr id="7" name="ï$ļîḋé"/>
            <p:cNvSpPr/>
            <p:nvPr/>
          </p:nvSpPr>
          <p:spPr>
            <a:xfrm>
              <a:off x="7769067" y="2168987"/>
              <a:ext cx="2874645" cy="2874645"/>
            </a:xfrm>
            <a:prstGeom prst="wedgeRectCallout">
              <a:avLst/>
            </a:prstGeom>
            <a:noFill/>
            <a:ln w="25400" cmpd="sng">
              <a:solidFill>
                <a:schemeClr val="bg1">
                  <a:lumMod val="65000"/>
                </a:schemeClr>
              </a:solidFill>
              <a:prstDash val="sysDash"/>
            </a:ln>
          </p:spPr>
          <p:txBody>
            <a:bodyPr anchor="ctr">
              <a:noAutofit/>
            </a:bodyPr>
            <a:lstStyle/>
            <a:p>
              <a:pPr lvl="0" algn="ctr"/>
              <a:endParaRPr lang="zh-CN" altLang="en-US">
                <a:cs typeface="+mn-ea"/>
                <a:sym typeface="+mn-lt"/>
              </a:endParaRPr>
            </a:p>
          </p:txBody>
        </p:sp>
        <p:grpSp>
          <p:nvGrpSpPr>
            <p:cNvPr id="28" name="组合 27"/>
            <p:cNvGrpSpPr/>
            <p:nvPr/>
          </p:nvGrpSpPr>
          <p:grpSpPr>
            <a:xfrm>
              <a:off x="8710772" y="1540337"/>
              <a:ext cx="991235" cy="991235"/>
              <a:chOff x="2482850" y="1654002"/>
              <a:chExt cx="991235" cy="991235"/>
            </a:xfrm>
          </p:grpSpPr>
          <p:sp>
            <p:nvSpPr>
              <p:cNvPr id="29" name="ïślîḍé"/>
              <p:cNvSpPr/>
              <p:nvPr/>
            </p:nvSpPr>
            <p:spPr>
              <a:xfrm>
                <a:off x="2482850" y="1654002"/>
                <a:ext cx="991235" cy="991235"/>
              </a:xfrm>
              <a:prstGeom prst="ellipse">
                <a:avLst/>
              </a:prstGeom>
              <a:solidFill>
                <a:schemeClr val="bg1"/>
              </a:solidFill>
              <a:ln w="38100" cap="flat">
                <a:solidFill>
                  <a:schemeClr val="bg1">
                    <a:lumMod val="50000"/>
                  </a:schemeClr>
                </a:solidFill>
                <a:miter lim="400000"/>
              </a:ln>
              <a:effectLst>
                <a:outerShdw blurRad="50800" dist="38100" dir="2700000" algn="tl" rotWithShape="0">
                  <a:prstClr val="black">
                    <a:alpha val="40000"/>
                  </a:prstClr>
                </a:outerShdw>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30" name="ï$ļîḓê"/>
              <p:cNvSpPr/>
              <p:nvPr/>
            </p:nvSpPr>
            <p:spPr bwMode="auto">
              <a:xfrm>
                <a:off x="2644923" y="1908927"/>
                <a:ext cx="667090" cy="48138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bg1">
                  <a:lumMod val="50000"/>
                </a:schemeClr>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sp>
          <p:nvSpPr>
            <p:cNvPr id="40" name="ïs1íďé"/>
            <p:cNvSpPr/>
            <p:nvPr/>
          </p:nvSpPr>
          <p:spPr bwMode="auto">
            <a:xfrm>
              <a:off x="7884001" y="2847089"/>
              <a:ext cx="2644776" cy="159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nSpc>
                  <a:spcPct val="120000"/>
                </a:lnSpc>
                <a:spcBef>
                  <a:spcPct val="0"/>
                </a:spcBef>
              </a:pPr>
              <a:r>
                <a:rPr lang="zh-CN" altLang="zh-CN" b="1" dirty="0"/>
                <a:t>实现对证据学习的决策树算法构造过程的动画展示</a:t>
              </a:r>
              <a:endParaRPr lang="en-US" altLang="zh-CN" b="1" dirty="0">
                <a:sym typeface="+mn-lt"/>
              </a:endParaRPr>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标题 10"/>
          <p:cNvSpPr>
            <a:spLocks noGrp="1"/>
          </p:cNvSpPr>
          <p:nvPr>
            <p:ph type="ctrTitle"/>
          </p:nvPr>
        </p:nvSpPr>
        <p:spPr/>
        <p:txBody>
          <a:bodyPr/>
          <a:lstStyle/>
          <a:p>
            <a:r>
              <a:rPr lang="zh-CN" altLang="en-US" dirty="0">
                <a:cs typeface="+mn-ea"/>
                <a:sym typeface="+mn-lt"/>
              </a:rPr>
              <a:t>主要工作内容</a:t>
            </a:r>
            <a:endParaRPr lang="en-US" altLang="zh-CN" dirty="0">
              <a:cs typeface="+mn-ea"/>
              <a:sym typeface="+mn-lt"/>
            </a:endParaRPr>
          </a:p>
        </p:txBody>
      </p:sp>
      <p:sp>
        <p:nvSpPr>
          <p:cNvPr id="13" name="文本占位符 12"/>
          <p:cNvSpPr>
            <a:spLocks noGrp="1"/>
          </p:cNvSpPr>
          <p:nvPr>
            <p:ph type="body" sz="quarter" idx="12"/>
          </p:nvPr>
        </p:nvSpPr>
        <p:spPr/>
        <p:txBody>
          <a:bodyPr/>
          <a:lstStyle/>
          <a:p>
            <a:pPr indent="0">
              <a:buNone/>
            </a:pPr>
            <a:r>
              <a:rPr lang="en-US" altLang="zh-CN" dirty="0">
                <a:latin typeface="+mn-lt"/>
                <a:cs typeface="+mn-ea"/>
                <a:sym typeface="+mn-lt"/>
              </a:rPr>
              <a:t>02</a:t>
            </a:r>
            <a:endParaRPr lang="en-US" dirty="0">
              <a:latin typeface="+mn-lt"/>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证据决策树的搭建</a:t>
            </a:r>
          </a:p>
        </p:txBody>
      </p:sp>
      <p:pic>
        <p:nvPicPr>
          <p:cNvPr id="17" name="图片 16">
            <a:extLst>
              <a:ext uri="{FF2B5EF4-FFF2-40B4-BE49-F238E27FC236}">
                <a16:creationId xmlns:a16="http://schemas.microsoft.com/office/drawing/2014/main" id="{5DE604F6-2D96-7BAF-3D24-E0AC8AED54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1449" y="1010955"/>
            <a:ext cx="9830602" cy="5112966"/>
          </a:xfrm>
          <a:prstGeom prst="rect">
            <a:avLst/>
          </a:prstGeom>
        </p:spPr>
      </p:pic>
      <p:sp>
        <p:nvSpPr>
          <p:cNvPr id="4" name="灯片编号占位符 2">
            <a:extLst>
              <a:ext uri="{FF2B5EF4-FFF2-40B4-BE49-F238E27FC236}">
                <a16:creationId xmlns:a16="http://schemas.microsoft.com/office/drawing/2014/main" id="{73BF7EC0-3FF2-768C-5932-9093717705C5}"/>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t>8</a:t>
            </a:fld>
            <a:endParaRPr lang="en-US" dirty="0">
              <a:solidFill>
                <a:srgbClr val="000000">
                  <a:tint val="75000"/>
                </a:srgbClr>
              </a:solidFill>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t>可视化动画引擎的选择</a:t>
            </a:r>
          </a:p>
        </p:txBody>
      </p:sp>
      <p:grpSp>
        <p:nvGrpSpPr>
          <p:cNvPr id="6" name="组合 5"/>
          <p:cNvGrpSpPr/>
          <p:nvPr/>
        </p:nvGrpSpPr>
        <p:grpSpPr>
          <a:xfrm>
            <a:off x="845820" y="1331669"/>
            <a:ext cx="10500359" cy="3429973"/>
            <a:chOff x="936900" y="945170"/>
            <a:chExt cx="10500359" cy="3429973"/>
          </a:xfrm>
        </p:grpSpPr>
        <p:sp>
          <p:nvSpPr>
            <p:cNvPr id="7" name="任意多边形 23"/>
            <p:cNvSpPr/>
            <p:nvPr/>
          </p:nvSpPr>
          <p:spPr>
            <a:xfrm rot="5400000" flipV="1">
              <a:off x="594309" y="3267135"/>
              <a:ext cx="1479117" cy="736899"/>
            </a:xfrm>
            <a:custGeom>
              <a:avLst/>
              <a:gdLst>
                <a:gd name="connsiteX0" fmla="*/ 1403227 w 2806455"/>
                <a:gd name="connsiteY0" fmla="*/ 0 h 1398182"/>
                <a:gd name="connsiteX1" fmla="*/ 2799477 w 2806455"/>
                <a:gd name="connsiteY1" fmla="*/ 1259997 h 1398182"/>
                <a:gd name="connsiteX2" fmla="*/ 2806455 w 2806455"/>
                <a:gd name="connsiteY2" fmla="*/ 1398182 h 1398182"/>
                <a:gd name="connsiteX3" fmla="*/ 0 w 2806455"/>
                <a:gd name="connsiteY3" fmla="*/ 1398182 h 1398182"/>
                <a:gd name="connsiteX4" fmla="*/ 6977 w 2806455"/>
                <a:gd name="connsiteY4" fmla="*/ 1259997 h 1398182"/>
                <a:gd name="connsiteX5" fmla="*/ 1403227 w 2806455"/>
                <a:gd name="connsiteY5" fmla="*/ 0 h 139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6455" h="1398182">
                  <a:moveTo>
                    <a:pt x="1403227" y="0"/>
                  </a:moveTo>
                  <a:cubicBezTo>
                    <a:pt x="2129911" y="0"/>
                    <a:pt x="2727604" y="552276"/>
                    <a:pt x="2799477" y="1259997"/>
                  </a:cubicBezTo>
                  <a:lnTo>
                    <a:pt x="2806455" y="1398182"/>
                  </a:lnTo>
                  <a:lnTo>
                    <a:pt x="0" y="1398182"/>
                  </a:lnTo>
                  <a:lnTo>
                    <a:pt x="6977" y="1259997"/>
                  </a:lnTo>
                  <a:cubicBezTo>
                    <a:pt x="78850" y="552276"/>
                    <a:pt x="676544" y="0"/>
                    <a:pt x="1403227" y="0"/>
                  </a:cubicBezTo>
                  <a:close/>
                </a:path>
              </a:pathLst>
            </a:custGeom>
            <a:solidFill>
              <a:schemeClr val="accent4"/>
            </a:solidFill>
            <a:ln w="38100" cap="rnd">
              <a:noFill/>
              <a:prstDash val="solid"/>
              <a:round/>
            </a:ln>
            <a:effectLst>
              <a:outerShdw blurRad="254000" dist="127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a:solidFill>
                  <a:schemeClr val="bg1"/>
                </a:solidFill>
              </a:endParaRPr>
            </a:p>
          </p:txBody>
        </p:sp>
        <p:sp>
          <p:nvSpPr>
            <p:cNvPr id="8" name="圆角矩形 19"/>
            <p:cNvSpPr/>
            <p:nvPr/>
          </p:nvSpPr>
          <p:spPr>
            <a:xfrm>
              <a:off x="1162943" y="3085650"/>
              <a:ext cx="2813972" cy="1093100"/>
            </a:xfrm>
            <a:prstGeom prst="roundRect">
              <a:avLst>
                <a:gd name="adj" fmla="val 50000"/>
              </a:avLst>
            </a:prstGeom>
            <a:solidFill>
              <a:srgbClr val="FFFFFF"/>
            </a:solidFill>
            <a:ln w="381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tx1"/>
                </a:solidFill>
              </a:endParaRPr>
            </a:p>
          </p:txBody>
        </p:sp>
        <p:sp>
          <p:nvSpPr>
            <p:cNvPr id="9" name="文本框 8"/>
            <p:cNvSpPr txBox="1"/>
            <p:nvPr/>
          </p:nvSpPr>
          <p:spPr>
            <a:xfrm>
              <a:off x="1609623" y="2353095"/>
              <a:ext cx="2148484" cy="400110"/>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000" b="1" dirty="0">
                  <a:solidFill>
                    <a:schemeClr val="tx1"/>
                  </a:solidFill>
                </a:rPr>
                <a:t> </a:t>
              </a:r>
              <a:r>
                <a:rPr lang="zh-CN" altLang="en-US" sz="2000" dirty="0">
                  <a:solidFill>
                    <a:schemeClr val="tx1"/>
                  </a:solidFill>
                </a:rPr>
                <a:t>开发及使用方便</a:t>
              </a:r>
              <a:endParaRPr lang="en-US" altLang="zh-CN" sz="2000" b="1" dirty="0">
                <a:solidFill>
                  <a:schemeClr val="tx1"/>
                </a:solidFill>
              </a:endParaRPr>
            </a:p>
          </p:txBody>
        </p:sp>
        <p:sp>
          <p:nvSpPr>
            <p:cNvPr id="10" name="矩形 9"/>
            <p:cNvSpPr/>
            <p:nvPr/>
          </p:nvSpPr>
          <p:spPr>
            <a:xfrm>
              <a:off x="1547348" y="3058245"/>
              <a:ext cx="2148484" cy="1156407"/>
            </a:xfrm>
            <a:prstGeom prst="rect">
              <a:avLst/>
            </a:prstGeom>
          </p:spPr>
          <p:txBody>
            <a:bodyPr wrap="square" anchor="t" anchorCtr="0">
              <a:spAutoFit/>
            </a:bodyPr>
            <a:lstStyle/>
            <a:p>
              <a:pPr defTabSz="913765">
                <a:lnSpc>
                  <a:spcPct val="150000"/>
                </a:lnSpc>
                <a:buSzPct val="25000"/>
                <a:defRPr/>
              </a:pPr>
              <a:r>
                <a:rPr lang="en-US" altLang="zh-CN" sz="1600" dirty="0"/>
                <a:t>Python</a:t>
              </a:r>
              <a:r>
                <a:rPr lang="zh-CN" altLang="en-US" sz="1600" dirty="0"/>
                <a:t>库形式；</a:t>
              </a:r>
              <a:endParaRPr lang="en-US" altLang="zh-CN" sz="1600" dirty="0"/>
            </a:p>
            <a:p>
              <a:pPr defTabSz="913765">
                <a:lnSpc>
                  <a:spcPct val="150000"/>
                </a:lnSpc>
                <a:buSzPct val="25000"/>
                <a:defRPr/>
              </a:pPr>
              <a:r>
                <a:rPr lang="zh-CN" altLang="en-US" sz="1600" dirty="0"/>
                <a:t>可外接其它编译器，如</a:t>
              </a:r>
              <a:r>
                <a:rPr lang="en-US" altLang="zh-CN" sz="1600" dirty="0"/>
                <a:t>Latex</a:t>
              </a:r>
              <a:r>
                <a:rPr lang="zh-CN" altLang="en-US" sz="1600" dirty="0"/>
                <a:t>；</a:t>
              </a:r>
              <a:endParaRPr lang="en-US" altLang="zh-CN" sz="1600" dirty="0"/>
            </a:p>
          </p:txBody>
        </p:sp>
        <p:sp>
          <p:nvSpPr>
            <p:cNvPr id="11" name="文本框 10"/>
            <p:cNvSpPr txBox="1"/>
            <p:nvPr/>
          </p:nvSpPr>
          <p:spPr>
            <a:xfrm>
              <a:off x="936900" y="945170"/>
              <a:ext cx="5904850" cy="1015663"/>
            </a:xfrm>
            <a:prstGeom prst="rect">
              <a:avLst/>
            </a:prstGeom>
            <a:noFill/>
          </p:spPr>
          <p:txBody>
            <a:bodyPr vert="horz" wrap="square" rtlCol="0">
              <a:spAutoFit/>
            </a:bodyPr>
            <a:lstStyle/>
            <a:p>
              <a:r>
                <a:rPr lang="en-US" altLang="zh-CN" sz="6000" b="1" dirty="0" err="1"/>
                <a:t>Manim</a:t>
              </a:r>
              <a:endParaRPr kumimoji="0" lang="en-US" altLang="zh-CN" sz="6000" b="1" i="0" u="none" strike="noStrike" kern="1200" cap="none" spc="0" normalizeH="0" baseline="0" noProof="0" dirty="0">
                <a:ln>
                  <a:noFill/>
                </a:ln>
                <a:effectLst/>
                <a:uLnTx/>
                <a:uFillTx/>
              </a:endParaRPr>
            </a:p>
          </p:txBody>
        </p:sp>
        <p:sp>
          <p:nvSpPr>
            <p:cNvPr id="12" name="任意多边形 35"/>
            <p:cNvSpPr/>
            <p:nvPr/>
          </p:nvSpPr>
          <p:spPr>
            <a:xfrm rot="5400000" flipV="1">
              <a:off x="4324481" y="3267135"/>
              <a:ext cx="1479117" cy="736899"/>
            </a:xfrm>
            <a:custGeom>
              <a:avLst/>
              <a:gdLst>
                <a:gd name="connsiteX0" fmla="*/ 1403227 w 2806455"/>
                <a:gd name="connsiteY0" fmla="*/ 0 h 1398182"/>
                <a:gd name="connsiteX1" fmla="*/ 2799477 w 2806455"/>
                <a:gd name="connsiteY1" fmla="*/ 1259997 h 1398182"/>
                <a:gd name="connsiteX2" fmla="*/ 2806455 w 2806455"/>
                <a:gd name="connsiteY2" fmla="*/ 1398182 h 1398182"/>
                <a:gd name="connsiteX3" fmla="*/ 0 w 2806455"/>
                <a:gd name="connsiteY3" fmla="*/ 1398182 h 1398182"/>
                <a:gd name="connsiteX4" fmla="*/ 6977 w 2806455"/>
                <a:gd name="connsiteY4" fmla="*/ 1259997 h 1398182"/>
                <a:gd name="connsiteX5" fmla="*/ 1403227 w 2806455"/>
                <a:gd name="connsiteY5" fmla="*/ 0 h 139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6455" h="1398182">
                  <a:moveTo>
                    <a:pt x="1403227" y="0"/>
                  </a:moveTo>
                  <a:cubicBezTo>
                    <a:pt x="2129911" y="0"/>
                    <a:pt x="2727604" y="552276"/>
                    <a:pt x="2799477" y="1259997"/>
                  </a:cubicBezTo>
                  <a:lnTo>
                    <a:pt x="2806455" y="1398182"/>
                  </a:lnTo>
                  <a:lnTo>
                    <a:pt x="0" y="1398182"/>
                  </a:lnTo>
                  <a:lnTo>
                    <a:pt x="6977" y="1259997"/>
                  </a:lnTo>
                  <a:cubicBezTo>
                    <a:pt x="78850" y="552276"/>
                    <a:pt x="676544" y="0"/>
                    <a:pt x="1403227" y="0"/>
                  </a:cubicBezTo>
                  <a:close/>
                </a:path>
              </a:pathLst>
            </a:custGeom>
            <a:solidFill>
              <a:schemeClr val="accent3"/>
            </a:solidFill>
            <a:ln w="38100" cap="rnd">
              <a:noFill/>
              <a:prstDash val="solid"/>
              <a:round/>
            </a:ln>
            <a:effectLst>
              <a:outerShdw blurRad="254000" dist="127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a:solidFill>
                  <a:schemeClr val="bg1"/>
                </a:solidFill>
              </a:endParaRPr>
            </a:p>
          </p:txBody>
        </p:sp>
        <p:sp>
          <p:nvSpPr>
            <p:cNvPr id="13" name="圆角矩形 36"/>
            <p:cNvSpPr/>
            <p:nvPr/>
          </p:nvSpPr>
          <p:spPr>
            <a:xfrm>
              <a:off x="4874065" y="3081787"/>
              <a:ext cx="2813972" cy="1093100"/>
            </a:xfrm>
            <a:prstGeom prst="roundRect">
              <a:avLst>
                <a:gd name="adj" fmla="val 50000"/>
              </a:avLst>
            </a:prstGeom>
            <a:solidFill>
              <a:srgbClr val="FFFFFF"/>
            </a:solidFill>
            <a:ln w="381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tx1"/>
                </a:solidFill>
              </a:endParaRPr>
            </a:p>
          </p:txBody>
        </p:sp>
        <p:sp>
          <p:nvSpPr>
            <p:cNvPr id="14" name="文本框 13"/>
            <p:cNvSpPr txBox="1"/>
            <p:nvPr/>
          </p:nvSpPr>
          <p:spPr>
            <a:xfrm>
              <a:off x="5339325" y="2385057"/>
              <a:ext cx="2017788" cy="400110"/>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000" b="1" dirty="0">
                  <a:solidFill>
                    <a:schemeClr val="tx1"/>
                  </a:solidFill>
                </a:rPr>
                <a:t> </a:t>
              </a:r>
              <a:r>
                <a:rPr lang="zh-CN" altLang="en-US" sz="2000" b="1" dirty="0">
                  <a:solidFill>
                    <a:schemeClr val="tx1"/>
                  </a:solidFill>
                </a:rPr>
                <a:t>两种渲染方式</a:t>
              </a:r>
              <a:endParaRPr lang="en-US" altLang="zh-CN" sz="2000" b="1" dirty="0">
                <a:solidFill>
                  <a:schemeClr val="tx1"/>
                </a:solidFill>
              </a:endParaRPr>
            </a:p>
          </p:txBody>
        </p:sp>
        <p:sp>
          <p:nvSpPr>
            <p:cNvPr id="15" name="矩形 14"/>
            <p:cNvSpPr/>
            <p:nvPr/>
          </p:nvSpPr>
          <p:spPr>
            <a:xfrm>
              <a:off x="5339325" y="3176447"/>
              <a:ext cx="2017788" cy="787075"/>
            </a:xfrm>
            <a:prstGeom prst="rect">
              <a:avLst/>
            </a:prstGeom>
          </p:spPr>
          <p:txBody>
            <a:bodyPr wrap="square" anchor="t" anchorCtr="0">
              <a:spAutoFit/>
            </a:bodyPr>
            <a:lstStyle/>
            <a:p>
              <a:pPr defTabSz="913765">
                <a:lnSpc>
                  <a:spcPct val="150000"/>
                </a:lnSpc>
                <a:buSzPct val="25000"/>
                <a:defRPr/>
              </a:pPr>
              <a:r>
                <a:rPr lang="zh-CN" altLang="en-US" sz="1600" dirty="0"/>
                <a:t>可实时交互式渲染；</a:t>
              </a:r>
              <a:endParaRPr lang="en-US" altLang="zh-CN" sz="1600" dirty="0"/>
            </a:p>
            <a:p>
              <a:pPr defTabSz="913765">
                <a:lnSpc>
                  <a:spcPct val="150000"/>
                </a:lnSpc>
                <a:buSzPct val="25000"/>
                <a:defRPr/>
              </a:pPr>
              <a:r>
                <a:rPr lang="zh-CN" altLang="en-US" sz="1600" dirty="0"/>
                <a:t>可生成常见视频格式；</a:t>
              </a:r>
              <a:endParaRPr lang="en-US" altLang="zh-CN" sz="1600" dirty="0"/>
            </a:p>
          </p:txBody>
        </p:sp>
        <p:sp>
          <p:nvSpPr>
            <p:cNvPr id="16" name="任意多边形 39"/>
            <p:cNvSpPr/>
            <p:nvPr/>
          </p:nvSpPr>
          <p:spPr>
            <a:xfrm rot="5400000" flipV="1">
              <a:off x="8054653" y="3267135"/>
              <a:ext cx="1479117" cy="736899"/>
            </a:xfrm>
            <a:custGeom>
              <a:avLst/>
              <a:gdLst>
                <a:gd name="connsiteX0" fmla="*/ 1403227 w 2806455"/>
                <a:gd name="connsiteY0" fmla="*/ 0 h 1398182"/>
                <a:gd name="connsiteX1" fmla="*/ 2799477 w 2806455"/>
                <a:gd name="connsiteY1" fmla="*/ 1259997 h 1398182"/>
                <a:gd name="connsiteX2" fmla="*/ 2806455 w 2806455"/>
                <a:gd name="connsiteY2" fmla="*/ 1398182 h 1398182"/>
                <a:gd name="connsiteX3" fmla="*/ 0 w 2806455"/>
                <a:gd name="connsiteY3" fmla="*/ 1398182 h 1398182"/>
                <a:gd name="connsiteX4" fmla="*/ 6977 w 2806455"/>
                <a:gd name="connsiteY4" fmla="*/ 1259997 h 1398182"/>
                <a:gd name="connsiteX5" fmla="*/ 1403227 w 2806455"/>
                <a:gd name="connsiteY5" fmla="*/ 0 h 139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6455" h="1398182">
                  <a:moveTo>
                    <a:pt x="1403227" y="0"/>
                  </a:moveTo>
                  <a:cubicBezTo>
                    <a:pt x="2129911" y="0"/>
                    <a:pt x="2727604" y="552276"/>
                    <a:pt x="2799477" y="1259997"/>
                  </a:cubicBezTo>
                  <a:lnTo>
                    <a:pt x="2806455" y="1398182"/>
                  </a:lnTo>
                  <a:lnTo>
                    <a:pt x="0" y="1398182"/>
                  </a:lnTo>
                  <a:lnTo>
                    <a:pt x="6977" y="1259997"/>
                  </a:lnTo>
                  <a:cubicBezTo>
                    <a:pt x="78850" y="552276"/>
                    <a:pt x="676544" y="0"/>
                    <a:pt x="1403227" y="0"/>
                  </a:cubicBezTo>
                  <a:close/>
                </a:path>
              </a:pathLst>
            </a:custGeom>
            <a:solidFill>
              <a:schemeClr val="accent5"/>
            </a:solidFill>
            <a:ln w="38100" cap="rnd">
              <a:noFill/>
              <a:prstDash val="solid"/>
              <a:round/>
            </a:ln>
            <a:effectLst>
              <a:outerShdw blurRad="254000" dist="127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a:solidFill>
                  <a:schemeClr val="bg1"/>
                </a:solidFill>
              </a:endParaRPr>
            </a:p>
          </p:txBody>
        </p:sp>
        <p:sp>
          <p:nvSpPr>
            <p:cNvPr id="17" name="圆角矩形 40"/>
            <p:cNvSpPr/>
            <p:nvPr/>
          </p:nvSpPr>
          <p:spPr>
            <a:xfrm>
              <a:off x="8623287" y="3085650"/>
              <a:ext cx="2813972" cy="1093100"/>
            </a:xfrm>
            <a:prstGeom prst="roundRect">
              <a:avLst>
                <a:gd name="adj" fmla="val 50000"/>
              </a:avLst>
            </a:prstGeom>
            <a:solidFill>
              <a:srgbClr val="FFFFFF"/>
            </a:solidFill>
            <a:ln w="381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tx1"/>
                </a:solidFill>
              </a:endParaRPr>
            </a:p>
          </p:txBody>
        </p:sp>
        <p:sp>
          <p:nvSpPr>
            <p:cNvPr id="18" name="文本框 17"/>
            <p:cNvSpPr txBox="1"/>
            <p:nvPr/>
          </p:nvSpPr>
          <p:spPr>
            <a:xfrm>
              <a:off x="9162059" y="2322317"/>
              <a:ext cx="2017788"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b="1" dirty="0">
                  <a:solidFill>
                    <a:schemeClr val="tx1"/>
                  </a:solidFill>
                </a:rPr>
                <a:t> </a:t>
              </a:r>
              <a:r>
                <a:rPr lang="zh-CN" altLang="en-US" sz="2400" b="1" dirty="0">
                  <a:solidFill>
                    <a:schemeClr val="tx1"/>
                  </a:solidFill>
                </a:rPr>
                <a:t>自由度高</a:t>
              </a:r>
              <a:endParaRPr lang="en-US" altLang="zh-CN" sz="2400" b="1" dirty="0">
                <a:solidFill>
                  <a:schemeClr val="tx1"/>
                </a:solidFill>
              </a:endParaRPr>
            </a:p>
          </p:txBody>
        </p:sp>
        <p:sp>
          <p:nvSpPr>
            <p:cNvPr id="19" name="矩形 18"/>
            <p:cNvSpPr/>
            <p:nvPr/>
          </p:nvSpPr>
          <p:spPr>
            <a:xfrm>
              <a:off x="9276948" y="3628337"/>
              <a:ext cx="1810337" cy="336374"/>
            </a:xfrm>
            <a:prstGeom prst="rect">
              <a:avLst/>
            </a:prstGeom>
          </p:spPr>
          <p:txBody>
            <a:bodyPr wrap="square" anchor="t" anchorCtr="0">
              <a:spAutoFit/>
            </a:bodyPr>
            <a:lstStyle/>
            <a:p>
              <a:pPr defTabSz="913765">
                <a:lnSpc>
                  <a:spcPct val="150000"/>
                </a:lnSpc>
                <a:buSzPct val="25000"/>
                <a:defRPr/>
              </a:pPr>
              <a:endParaRPr lang="en-US" altLang="zh-CN" sz="1200" dirty="0"/>
            </a:p>
          </p:txBody>
        </p:sp>
      </p:grpSp>
      <p:sp>
        <p:nvSpPr>
          <p:cNvPr id="20" name="文本框 19"/>
          <p:cNvSpPr txBox="1"/>
          <p:nvPr/>
        </p:nvSpPr>
        <p:spPr>
          <a:xfrm>
            <a:off x="4034343" y="1632123"/>
            <a:ext cx="5904850" cy="325410"/>
          </a:xfrm>
          <a:prstGeom prst="rect">
            <a:avLst/>
          </a:prstGeom>
          <a:noFill/>
        </p:spPr>
        <p:txBody>
          <a:bodyPr wrap="square" lIns="72000" tIns="0" rIns="72000" bIns="0" rtlCol="0" anchor="t">
            <a:spAutoFit/>
          </a:bodyPr>
          <a:lstStyle/>
          <a:p>
            <a:pPr defTabSz="913765">
              <a:lnSpc>
                <a:spcPct val="150000"/>
              </a:lnSpc>
              <a:buSzPct val="25000"/>
              <a:defRPr/>
            </a:pPr>
            <a:r>
              <a:rPr lang="zh-CN" altLang="en-US" sz="1600" dirty="0"/>
              <a:t>是一个</a:t>
            </a:r>
            <a:r>
              <a:rPr lang="zh-CN" altLang="zh-CN" sz="1600" dirty="0"/>
              <a:t>致力于成为创建解释性数学视频的精确编程动画引擎。</a:t>
            </a:r>
            <a:endParaRPr lang="zh-CN" altLang="en-US" sz="1600" dirty="0"/>
          </a:p>
        </p:txBody>
      </p:sp>
      <p:sp>
        <p:nvSpPr>
          <p:cNvPr id="21" name="矩形 20"/>
          <p:cNvSpPr/>
          <p:nvPr/>
        </p:nvSpPr>
        <p:spPr>
          <a:xfrm>
            <a:off x="8938239" y="3562945"/>
            <a:ext cx="2181898" cy="787075"/>
          </a:xfrm>
          <a:prstGeom prst="rect">
            <a:avLst/>
          </a:prstGeom>
        </p:spPr>
        <p:txBody>
          <a:bodyPr wrap="square" anchor="t" anchorCtr="0">
            <a:spAutoFit/>
          </a:bodyPr>
          <a:lstStyle/>
          <a:p>
            <a:pPr defTabSz="913765">
              <a:lnSpc>
                <a:spcPct val="150000"/>
              </a:lnSpc>
              <a:buSzPct val="25000"/>
              <a:defRPr/>
            </a:pPr>
            <a:r>
              <a:rPr lang="zh-CN" altLang="en-US" sz="1600" dirty="0"/>
              <a:t>可绘制任意图形；</a:t>
            </a:r>
            <a:endParaRPr lang="en-US" altLang="zh-CN" sz="1600" dirty="0"/>
          </a:p>
          <a:p>
            <a:pPr defTabSz="913765">
              <a:lnSpc>
                <a:spcPct val="150000"/>
              </a:lnSpc>
              <a:buSzPct val="25000"/>
              <a:defRPr/>
            </a:pPr>
            <a:r>
              <a:rPr lang="zh-CN" altLang="en-US" sz="1600" dirty="0"/>
              <a:t>可任意创建动画效果；</a:t>
            </a:r>
            <a:endParaRPr lang="en-US" altLang="zh-CN" sz="1600" dirty="0"/>
          </a:p>
        </p:txBody>
      </p:sp>
      <p:sp>
        <p:nvSpPr>
          <p:cNvPr id="22" name="灯片编号占位符 2">
            <a:extLst>
              <a:ext uri="{FF2B5EF4-FFF2-40B4-BE49-F238E27FC236}">
                <a16:creationId xmlns:a16="http://schemas.microsoft.com/office/drawing/2014/main" id="{EA15DCA4-3141-7125-C1B6-6545BE7EB316}"/>
              </a:ext>
            </a:extLst>
          </p:cNvPr>
          <p:cNvSpPr>
            <a:spLocks noGrp="1"/>
          </p:cNvSpPr>
          <p:nvPr>
            <p:ph type="sldNum" sz="quarter" idx="4"/>
          </p:nvPr>
        </p:nvSpPr>
        <p:spPr>
          <a:xfrm>
            <a:off x="5898204" y="6356350"/>
            <a:ext cx="395592" cy="365125"/>
          </a:xfrm>
        </p:spPr>
        <p:txBody>
          <a:bodyPr/>
          <a:lstStyle/>
          <a:p>
            <a:pPr defTabSz="914400">
              <a:defRPr/>
            </a:pPr>
            <a:fld id="{A48020E0-1C4F-4D89-9FD1-EC2E5B71218B}" type="slidenum">
              <a:rPr lang="en-US" smtClean="0">
                <a:solidFill>
                  <a:srgbClr val="000000">
                    <a:tint val="75000"/>
                  </a:srgbClr>
                </a:solidFill>
                <a:cs typeface="+mn-ea"/>
                <a:sym typeface="+mn-lt"/>
              </a:rPr>
              <a:t>9</a:t>
            </a:fld>
            <a:endParaRPr lang="en-US" dirty="0">
              <a:solidFill>
                <a:srgbClr val="000000">
                  <a:tint val="75000"/>
                </a:srgbClr>
              </a:solidFill>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COMMONDATA" val="eyJoZGlkIjoiN2M4NTBkYzMyZGNlMTdmMTI3ODlhNDNmZThlNDc2ZmMifQ=="/>
</p:tagLst>
</file>

<file path=ppt/tags/tag10.xml><?xml version="1.0" encoding="utf-8"?>
<p:tagLst xmlns:a="http://schemas.openxmlformats.org/drawingml/2006/main" xmlns:r="http://schemas.openxmlformats.org/officeDocument/2006/relationships" xmlns:p="http://schemas.openxmlformats.org/presentationml/2006/main">
  <p:tag name="PA" val="v5.2.3"/>
</p:tagLst>
</file>

<file path=ppt/tags/tag11.xml><?xml version="1.0" encoding="utf-8"?>
<p:tagLst xmlns:a="http://schemas.openxmlformats.org/drawingml/2006/main" xmlns:r="http://schemas.openxmlformats.org/officeDocument/2006/relationships" xmlns:p="http://schemas.openxmlformats.org/presentationml/2006/main">
  <p:tag name="PA" val="v5.2.3"/>
</p:tagLst>
</file>

<file path=ppt/tags/tag2.xml><?xml version="1.0" encoding="utf-8"?>
<p:tagLst xmlns:a="http://schemas.openxmlformats.org/drawingml/2006/main" xmlns:r="http://schemas.openxmlformats.org/officeDocument/2006/relationships" xmlns:p="http://schemas.openxmlformats.org/presentationml/2006/main">
  <p:tag name="PA" val="v5.2.3"/>
</p:tagLst>
</file>

<file path=ppt/tags/tag3.xml><?xml version="1.0" encoding="utf-8"?>
<p:tagLst xmlns:a="http://schemas.openxmlformats.org/drawingml/2006/main" xmlns:r="http://schemas.openxmlformats.org/officeDocument/2006/relationships" xmlns:p="http://schemas.openxmlformats.org/presentationml/2006/main">
  <p:tag name="PA" val="v5.2.3"/>
</p:tagLst>
</file>

<file path=ppt/tags/tag4.xml><?xml version="1.0" encoding="utf-8"?>
<p:tagLst xmlns:a="http://schemas.openxmlformats.org/drawingml/2006/main" xmlns:r="http://schemas.openxmlformats.org/officeDocument/2006/relationships" xmlns:p="http://schemas.openxmlformats.org/presentationml/2006/main">
  <p:tag name="PA" val="v5.2.3"/>
</p:tagLst>
</file>

<file path=ppt/tags/tag5.xml><?xml version="1.0" encoding="utf-8"?>
<p:tagLst xmlns:a="http://schemas.openxmlformats.org/drawingml/2006/main" xmlns:r="http://schemas.openxmlformats.org/officeDocument/2006/relationships" xmlns:p="http://schemas.openxmlformats.org/presentationml/2006/main">
  <p:tag name="PA" val="v5.2.3"/>
</p:tagLst>
</file>

<file path=ppt/tags/tag6.xml><?xml version="1.0" encoding="utf-8"?>
<p:tagLst xmlns:a="http://schemas.openxmlformats.org/drawingml/2006/main" xmlns:r="http://schemas.openxmlformats.org/officeDocument/2006/relationships" xmlns:p="http://schemas.openxmlformats.org/presentationml/2006/main">
  <p:tag name="PA" val="v5.2.3"/>
</p:tagLst>
</file>

<file path=ppt/tags/tag7.xml><?xml version="1.0" encoding="utf-8"?>
<p:tagLst xmlns:a="http://schemas.openxmlformats.org/drawingml/2006/main" xmlns:r="http://schemas.openxmlformats.org/officeDocument/2006/relationships" xmlns:p="http://schemas.openxmlformats.org/presentationml/2006/main">
  <p:tag name="PA" val="v5.2.3"/>
</p:tagLst>
</file>

<file path=ppt/tags/tag8.xml><?xml version="1.0" encoding="utf-8"?>
<p:tagLst xmlns:a="http://schemas.openxmlformats.org/drawingml/2006/main" xmlns:r="http://schemas.openxmlformats.org/officeDocument/2006/relationships" xmlns:p="http://schemas.openxmlformats.org/presentationml/2006/main">
  <p:tag name="PA" val="v5.2.3"/>
</p:tagLst>
</file>

<file path=ppt/tags/tag9.xml><?xml version="1.0" encoding="utf-8"?>
<p:tagLst xmlns:a="http://schemas.openxmlformats.org/drawingml/2006/main" xmlns:r="http://schemas.openxmlformats.org/officeDocument/2006/relationships" xmlns:p="http://schemas.openxmlformats.org/presentationml/2006/main">
  <p:tag name="PA" val="v5.2.3"/>
</p:tagLst>
</file>

<file path=ppt/theme/theme1.xml><?xml version="1.0" encoding="utf-8"?>
<a:theme xmlns:a="http://schemas.openxmlformats.org/drawingml/2006/main" name="Office 主题​​">
  <a:themeElements>
    <a:clrScheme name="上海大学VI配色">
      <a:dk1>
        <a:srgbClr val="000000"/>
      </a:dk1>
      <a:lt1>
        <a:srgbClr val="FFFFFF"/>
      </a:lt1>
      <a:dk2>
        <a:srgbClr val="768395"/>
      </a:dk2>
      <a:lt2>
        <a:srgbClr val="F0F0F0"/>
      </a:lt2>
      <a:accent1>
        <a:srgbClr val="00447C"/>
      </a:accent1>
      <a:accent2>
        <a:srgbClr val="D18E03"/>
      </a:accent2>
      <a:accent3>
        <a:srgbClr val="AE0D16"/>
      </a:accent3>
      <a:accent4>
        <a:srgbClr val="800964"/>
      </a:accent4>
      <a:accent5>
        <a:srgbClr val="47872C"/>
      </a:accent5>
      <a:accent6>
        <a:srgbClr val="575757"/>
      </a:accent6>
      <a:hlink>
        <a:srgbClr val="00447C"/>
      </a:hlink>
      <a:folHlink>
        <a:srgbClr val="BFBFBF"/>
      </a:folHlink>
    </a:clrScheme>
    <a:fontScheme name="2gpxnxnz">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defTabSz="914400">
          <a:buSzPct val="25000"/>
          <a:defRPr b="1" dirty="0" smtClean="0">
            <a:solidFill>
              <a:schemeClr val="bg1"/>
            </a:solidFill>
            <a:cs typeface="+mn-ea"/>
            <a:sym typeface="+mn-lt"/>
          </a:defRPr>
        </a:defPPr>
      </a:lstStyle>
    </a:spDef>
    <a:txDef>
      <a:spPr>
        <a:noFill/>
      </a:spPr>
      <a:bodyPr wrap="none" lIns="72000" tIns="0" rIns="72000" bIns="0" rtlCol="0" anchor="t">
        <a:spAutoFit/>
      </a:bodyPr>
      <a:lstStyle>
        <a:defPPr algn="l">
          <a:lnSpc>
            <a:spcPct val="120000"/>
          </a:lnSpc>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32</TotalTime>
  <Words>583</Words>
  <Application>Microsoft Office PowerPoint</Application>
  <PresentationFormat>宽屏</PresentationFormat>
  <Paragraphs>107</Paragraphs>
  <Slides>20</Slides>
  <Notes>2</Notes>
  <HiddenSlides>0</HiddenSlides>
  <MMClips>3</MMClips>
  <ScaleCrop>false</ScaleCrop>
  <HeadingPairs>
    <vt:vector size="6" baseType="variant">
      <vt:variant>
        <vt:lpstr>已用的字体</vt:lpstr>
      </vt:variant>
      <vt:variant>
        <vt:i4>4</vt:i4>
      </vt:variant>
      <vt:variant>
        <vt:lpstr>主题</vt:lpstr>
      </vt:variant>
      <vt:variant>
        <vt:i4>1</vt:i4>
      </vt:variant>
      <vt:variant>
        <vt:lpstr>幻灯片标题</vt:lpstr>
      </vt:variant>
      <vt:variant>
        <vt:i4>20</vt:i4>
      </vt:variant>
    </vt:vector>
  </HeadingPairs>
  <TitlesOfParts>
    <vt:vector size="25" baseType="lpstr">
      <vt:lpstr>等线</vt:lpstr>
      <vt:lpstr>Arial</vt:lpstr>
      <vt:lpstr>Impact</vt:lpstr>
      <vt:lpstr>Trebuchet MS</vt:lpstr>
      <vt:lpstr>Office 主题​​</vt:lpstr>
      <vt:lpstr>基于证据学习的决策树的可视化实现</vt:lpstr>
      <vt:lpstr>目录</vt:lpstr>
      <vt:lpstr>研究背景与意义</vt:lpstr>
      <vt:lpstr>证据决策树可视化的发展现状</vt:lpstr>
      <vt:lpstr>研究意义</vt:lpstr>
      <vt:lpstr>研究目标</vt:lpstr>
      <vt:lpstr>主要工作内容</vt:lpstr>
      <vt:lpstr>证据决策树的搭建</vt:lpstr>
      <vt:lpstr>可视化动画引擎的选择</vt:lpstr>
      <vt:lpstr>Manim库的基本开发方式</vt:lpstr>
      <vt:lpstr>Manim库的实例演示</vt:lpstr>
      <vt:lpstr>Manim框架下的证据决策树的动画设计</vt:lpstr>
      <vt:lpstr>成果展示</vt:lpstr>
      <vt:lpstr>决策树的可视化</vt:lpstr>
      <vt:lpstr>证据决策树的整体流程的可视化</vt:lpstr>
      <vt:lpstr>PowerPoint 演示文稿</vt:lpstr>
      <vt:lpstr>总结与展望</vt:lpstr>
      <vt:lpstr>创新点</vt:lpstr>
      <vt:lpstr>展望</vt:lpstr>
      <vt:lpstr>恳请各位老师批评指正</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林利蒙</dc:creator>
  <cp:lastModifiedBy>zhu mathis</cp:lastModifiedBy>
  <cp:revision>2563</cp:revision>
  <dcterms:created xsi:type="dcterms:W3CDTF">2019-03-21T14:55:00Z</dcterms:created>
  <dcterms:modified xsi:type="dcterms:W3CDTF">2022-06-07T02:0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yunxl@microsoft.com</vt:lpwstr>
  </property>
  <property fmtid="{D5CDD505-2E9C-101B-9397-08002B2CF9AE}" pid="5" name="MSIP_Label_f42aa342-8706-4288-bd11-ebb85995028c_SetDate">
    <vt:lpwstr>2019-03-22T06:47:56.064431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f92b241c-97c8-498a-8cd3-16042464c891</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ICV">
    <vt:lpwstr>F36F5A3A456049E3BCAFEA7DE9B27611</vt:lpwstr>
  </property>
  <property fmtid="{D5CDD505-2E9C-101B-9397-08002B2CF9AE}" pid="12" name="KSOProductBuildVer">
    <vt:lpwstr>2052-11.1.0.11744</vt:lpwstr>
  </property>
</Properties>
</file>